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5.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50" r:id="rId5"/>
    <p:sldMasterId id="2147483652" r:id="rId6"/>
    <p:sldMasterId id="2147483656" r:id="rId7"/>
  </p:sldMasterIdLst>
  <p:notesMasterIdLst>
    <p:notesMasterId r:id="rId50"/>
  </p:notesMasterIdLst>
  <p:sldIdLst>
    <p:sldId id="256" r:id="rId8"/>
    <p:sldId id="353" r:id="rId9"/>
    <p:sldId id="362" r:id="rId10"/>
    <p:sldId id="360" r:id="rId11"/>
    <p:sldId id="361" r:id="rId12"/>
    <p:sldId id="264" r:id="rId13"/>
    <p:sldId id="367" r:id="rId14"/>
    <p:sldId id="363" r:id="rId15"/>
    <p:sldId id="358" r:id="rId16"/>
    <p:sldId id="265" r:id="rId17"/>
    <p:sldId id="266" r:id="rId18"/>
    <p:sldId id="359" r:id="rId19"/>
    <p:sldId id="347" r:id="rId20"/>
    <p:sldId id="366" r:id="rId21"/>
    <p:sldId id="287" r:id="rId22"/>
    <p:sldId id="370" r:id="rId23"/>
    <p:sldId id="356" r:id="rId24"/>
    <p:sldId id="364" r:id="rId25"/>
    <p:sldId id="354" r:id="rId26"/>
    <p:sldId id="350" r:id="rId27"/>
    <p:sldId id="324" r:id="rId28"/>
    <p:sldId id="263" r:id="rId29"/>
    <p:sldId id="274" r:id="rId30"/>
    <p:sldId id="333" r:id="rId31"/>
    <p:sldId id="335" r:id="rId32"/>
    <p:sldId id="315" r:id="rId33"/>
    <p:sldId id="381" r:id="rId34"/>
    <p:sldId id="351" r:id="rId35"/>
    <p:sldId id="268" r:id="rId36"/>
    <p:sldId id="279" r:id="rId37"/>
    <p:sldId id="269" r:id="rId38"/>
    <p:sldId id="272" r:id="rId39"/>
    <p:sldId id="273" r:id="rId40"/>
    <p:sldId id="352" r:id="rId41"/>
    <p:sldId id="278" r:id="rId42"/>
    <p:sldId id="275" r:id="rId43"/>
    <p:sldId id="276" r:id="rId44"/>
    <p:sldId id="280" r:id="rId45"/>
    <p:sldId id="281" r:id="rId46"/>
    <p:sldId id="282" r:id="rId47"/>
    <p:sldId id="283" r:id="rId48"/>
    <p:sldId id="261" r:id="rId49"/>
  </p:sldIdLst>
  <p:sldSz cx="12192000" cy="6858000"/>
  <p:notesSz cx="6858000" cy="9144000"/>
  <p:custDataLst>
    <p:tags r:id="rId5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1248D1B-A47A-B7C1-24D9-7127110DF0D0}" name="Guest User" initials="GU" userId="S::urn:spo:anon#5c1cd7b39cb30a75ca1cea0fb2ba435992d6c6a6b484349a9ca7505025227c67::" providerId="AD"/>
  <p188:author id="{F1E6144C-14BA-4EF9-61ED-859BA2598D84}" name="Frances Meek" initials="FM" userId="S::F.Meek@nutrition.org.uk::f3af35cc-3229-46e1-af36-3525661cfbd3" providerId="AD"/>
  <p188:author id="{7ECFBFCA-DD88-6422-7FAF-B5B8619DEB83}" name="Ewen Trafford" initials="EPT" userId="Ewen Trafford"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rances Meek" initials="FM" lastIdx="2" clrIdx="0">
    <p:extLst>
      <p:ext uri="{19B8F6BF-5375-455C-9EA6-DF929625EA0E}">
        <p15:presenceInfo xmlns:p15="http://schemas.microsoft.com/office/powerpoint/2012/main" userId="S::F.Meek@nutrition.org.uk::f3af35cc-3229-46e1-af36-3525661cfbd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E3C2"/>
    <a:srgbClr val="EF9F3F"/>
    <a:srgbClr val="FCC241"/>
    <a:srgbClr val="D98F1A"/>
    <a:srgbClr val="F9D4B6"/>
    <a:srgbClr val="EDAD80"/>
    <a:srgbClr val="E46B2F"/>
    <a:srgbClr val="ED6B1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55D3F34-8289-4974-90B0-0DEEC8734E9E}" v="8" dt="2022-12-02T10:43:19.20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6" d="100"/>
          <a:sy n="106" d="100"/>
        </p:scale>
        <p:origin x="756" y="9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Master" Target="slideMasters/slideMaster2.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tableStyles" Target="tableStyles.xml"/><Relationship Id="rId8" Type="http://schemas.openxmlformats.org/officeDocument/2006/relationships/slide" Target="slides/slide1.xml"/><Relationship Id="rId51"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microsoft.com/office/2018/10/relationships/authors" Target="author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microsoft.com/office/2016/11/relationships/changesInfo" Target="changesInfos/changesInfo1.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ances Meek" userId="f3af35cc-3229-46e1-af36-3525661cfbd3" providerId="ADAL" clId="{F376D9DA-E273-402F-88CD-58A52DBC3E00}"/>
    <pc:docChg chg="undo custSel addSld modSld">
      <pc:chgData name="Frances Meek" userId="f3af35cc-3229-46e1-af36-3525661cfbd3" providerId="ADAL" clId="{F376D9DA-E273-402F-88CD-58A52DBC3E00}" dt="2022-06-01T15:16:05.399" v="1199" actId="2711"/>
      <pc:docMkLst>
        <pc:docMk/>
      </pc:docMkLst>
      <pc:sldChg chg="modSp mod">
        <pc:chgData name="Frances Meek" userId="f3af35cc-3229-46e1-af36-3525661cfbd3" providerId="ADAL" clId="{F376D9DA-E273-402F-88CD-58A52DBC3E00}" dt="2022-05-24T12:40:31.101" v="6" actId="313"/>
        <pc:sldMkLst>
          <pc:docMk/>
          <pc:sldMk cId="1199664204" sldId="263"/>
        </pc:sldMkLst>
        <pc:spChg chg="mod">
          <ac:chgData name="Frances Meek" userId="f3af35cc-3229-46e1-af36-3525661cfbd3" providerId="ADAL" clId="{F376D9DA-E273-402F-88CD-58A52DBC3E00}" dt="2022-05-24T12:40:31.101" v="6" actId="313"/>
          <ac:spMkLst>
            <pc:docMk/>
            <pc:sldMk cId="1199664204" sldId="263"/>
            <ac:spMk id="2" creationId="{44734D3D-C20B-4ED7-8C51-1867D1A26058}"/>
          </ac:spMkLst>
        </pc:spChg>
      </pc:sldChg>
      <pc:sldChg chg="addCm">
        <pc:chgData name="Frances Meek" userId="f3af35cc-3229-46e1-af36-3525661cfbd3" providerId="ADAL" clId="{F376D9DA-E273-402F-88CD-58A52DBC3E00}" dt="2022-05-24T12:41:17.847" v="7"/>
        <pc:sldMkLst>
          <pc:docMk/>
          <pc:sldMk cId="3993973292" sldId="274"/>
        </pc:sldMkLst>
      </pc:sldChg>
      <pc:sldChg chg="modSp mod">
        <pc:chgData name="Frances Meek" userId="f3af35cc-3229-46e1-af36-3525661cfbd3" providerId="ADAL" clId="{F376D9DA-E273-402F-88CD-58A52DBC3E00}" dt="2022-06-01T13:58:56.279" v="543" actId="20577"/>
        <pc:sldMkLst>
          <pc:docMk/>
          <pc:sldMk cId="3137792006" sldId="277"/>
        </pc:sldMkLst>
        <pc:spChg chg="mod">
          <ac:chgData name="Frances Meek" userId="f3af35cc-3229-46e1-af36-3525661cfbd3" providerId="ADAL" clId="{F376D9DA-E273-402F-88CD-58A52DBC3E00}" dt="2022-06-01T13:58:56.279" v="543" actId="20577"/>
          <ac:spMkLst>
            <pc:docMk/>
            <pc:sldMk cId="3137792006" sldId="277"/>
            <ac:spMk id="7" creationId="{1B259F73-E87B-42C3-9AC3-9D81F3D3C48B}"/>
          </ac:spMkLst>
        </pc:spChg>
      </pc:sldChg>
      <pc:sldChg chg="modSp mod">
        <pc:chgData name="Frances Meek" userId="f3af35cc-3229-46e1-af36-3525661cfbd3" providerId="ADAL" clId="{F376D9DA-E273-402F-88CD-58A52DBC3E00}" dt="2022-05-24T12:38:32.678" v="1" actId="20577"/>
        <pc:sldMkLst>
          <pc:docMk/>
          <pc:sldMk cId="1351839580" sldId="294"/>
        </pc:sldMkLst>
        <pc:spChg chg="mod">
          <ac:chgData name="Frances Meek" userId="f3af35cc-3229-46e1-af36-3525661cfbd3" providerId="ADAL" clId="{F376D9DA-E273-402F-88CD-58A52DBC3E00}" dt="2022-05-24T12:38:32.678" v="1" actId="20577"/>
          <ac:spMkLst>
            <pc:docMk/>
            <pc:sldMk cId="1351839580" sldId="294"/>
            <ac:spMk id="7" creationId="{9F5610B5-B857-41E6-8A9E-1F8B928123A4}"/>
          </ac:spMkLst>
        </pc:spChg>
      </pc:sldChg>
      <pc:sldChg chg="addSp delSp modSp mod">
        <pc:chgData name="Frances Meek" userId="f3af35cc-3229-46e1-af36-3525661cfbd3" providerId="ADAL" clId="{F376D9DA-E273-402F-88CD-58A52DBC3E00}" dt="2022-06-01T15:15:09.763" v="1198" actId="20577"/>
        <pc:sldMkLst>
          <pc:docMk/>
          <pc:sldMk cId="2939916080" sldId="299"/>
        </pc:sldMkLst>
        <pc:spChg chg="mod">
          <ac:chgData name="Frances Meek" userId="f3af35cc-3229-46e1-af36-3525661cfbd3" providerId="ADAL" clId="{F376D9DA-E273-402F-88CD-58A52DBC3E00}" dt="2022-06-01T15:15:09.763" v="1198" actId="20577"/>
          <ac:spMkLst>
            <pc:docMk/>
            <pc:sldMk cId="2939916080" sldId="299"/>
            <ac:spMk id="3" creationId="{00000000-0000-0000-0000-000000000000}"/>
          </ac:spMkLst>
        </pc:spChg>
        <pc:spChg chg="add del mod">
          <ac:chgData name="Frances Meek" userId="f3af35cc-3229-46e1-af36-3525661cfbd3" providerId="ADAL" clId="{F376D9DA-E273-402F-88CD-58A52DBC3E00}" dt="2022-06-01T14:21:55.602" v="973" actId="767"/>
          <ac:spMkLst>
            <pc:docMk/>
            <pc:sldMk cId="2939916080" sldId="299"/>
            <ac:spMk id="4" creationId="{BFC55DC0-B659-EFFD-5A51-6A2231B6767A}"/>
          </ac:spMkLst>
        </pc:spChg>
        <pc:spChg chg="mod">
          <ac:chgData name="Frances Meek" userId="f3af35cc-3229-46e1-af36-3525661cfbd3" providerId="ADAL" clId="{F376D9DA-E273-402F-88CD-58A52DBC3E00}" dt="2022-06-01T14:21:57.794" v="977" actId="14100"/>
          <ac:spMkLst>
            <pc:docMk/>
            <pc:sldMk cId="2939916080" sldId="299"/>
            <ac:spMk id="9" creationId="{90AD5823-4F3E-4ABB-A30E-D01E6F661D32}"/>
          </ac:spMkLst>
        </pc:spChg>
        <pc:picChg chg="mod">
          <ac:chgData name="Frances Meek" userId="f3af35cc-3229-46e1-af36-3525661cfbd3" providerId="ADAL" clId="{F376D9DA-E273-402F-88CD-58A52DBC3E00}" dt="2022-06-01T14:21:57.794" v="977" actId="14100"/>
          <ac:picMkLst>
            <pc:docMk/>
            <pc:sldMk cId="2939916080" sldId="299"/>
            <ac:picMk id="6" creationId="{C0FE8D37-3213-4315-AF72-2D59BD6E86A1}"/>
          </ac:picMkLst>
        </pc:picChg>
        <pc:picChg chg="mod">
          <ac:chgData name="Frances Meek" userId="f3af35cc-3229-46e1-af36-3525661cfbd3" providerId="ADAL" clId="{F376D9DA-E273-402F-88CD-58A52DBC3E00}" dt="2022-06-01T14:21:56.129" v="974" actId="1076"/>
          <ac:picMkLst>
            <pc:docMk/>
            <pc:sldMk cId="2939916080" sldId="299"/>
            <ac:picMk id="8" creationId="{429738C1-FBF9-4D65-81AD-6466098FBB67}"/>
          </ac:picMkLst>
        </pc:picChg>
      </pc:sldChg>
      <pc:sldChg chg="modSp mod">
        <pc:chgData name="Frances Meek" userId="f3af35cc-3229-46e1-af36-3525661cfbd3" providerId="ADAL" clId="{F376D9DA-E273-402F-88CD-58A52DBC3E00}" dt="2022-06-01T13:09:35.363" v="252" actId="14100"/>
        <pc:sldMkLst>
          <pc:docMk/>
          <pc:sldMk cId="4146092675" sldId="301"/>
        </pc:sldMkLst>
        <pc:spChg chg="mod">
          <ac:chgData name="Frances Meek" userId="f3af35cc-3229-46e1-af36-3525661cfbd3" providerId="ADAL" clId="{F376D9DA-E273-402F-88CD-58A52DBC3E00}" dt="2022-06-01T13:09:35.363" v="252" actId="14100"/>
          <ac:spMkLst>
            <pc:docMk/>
            <pc:sldMk cId="4146092675" sldId="301"/>
            <ac:spMk id="4" creationId="{AD0D0778-949E-4414-BC9B-77E033DFFAA2}"/>
          </ac:spMkLst>
        </pc:spChg>
      </pc:sldChg>
      <pc:sldChg chg="modSp mod">
        <pc:chgData name="Frances Meek" userId="f3af35cc-3229-46e1-af36-3525661cfbd3" providerId="ADAL" clId="{F376D9DA-E273-402F-88CD-58A52DBC3E00}" dt="2022-06-01T13:07:22.037" v="233" actId="20577"/>
        <pc:sldMkLst>
          <pc:docMk/>
          <pc:sldMk cId="1274149409" sldId="302"/>
        </pc:sldMkLst>
        <pc:spChg chg="mod">
          <ac:chgData name="Frances Meek" userId="f3af35cc-3229-46e1-af36-3525661cfbd3" providerId="ADAL" clId="{F376D9DA-E273-402F-88CD-58A52DBC3E00}" dt="2022-06-01T13:07:22.037" v="233" actId="20577"/>
          <ac:spMkLst>
            <pc:docMk/>
            <pc:sldMk cId="1274149409" sldId="302"/>
            <ac:spMk id="3" creationId="{00000000-0000-0000-0000-000000000000}"/>
          </ac:spMkLst>
        </pc:spChg>
      </pc:sldChg>
      <pc:sldChg chg="modSp mod">
        <pc:chgData name="Frances Meek" userId="f3af35cc-3229-46e1-af36-3525661cfbd3" providerId="ADAL" clId="{F376D9DA-E273-402F-88CD-58A52DBC3E00}" dt="2022-06-01T13:10:36.228" v="266" actId="20577"/>
        <pc:sldMkLst>
          <pc:docMk/>
          <pc:sldMk cId="1245899220" sldId="305"/>
        </pc:sldMkLst>
        <pc:spChg chg="mod">
          <ac:chgData name="Frances Meek" userId="f3af35cc-3229-46e1-af36-3525661cfbd3" providerId="ADAL" clId="{F376D9DA-E273-402F-88CD-58A52DBC3E00}" dt="2022-06-01T13:10:18.608" v="263" actId="20577"/>
          <ac:spMkLst>
            <pc:docMk/>
            <pc:sldMk cId="1245899220" sldId="305"/>
            <ac:spMk id="2" creationId="{00000000-0000-0000-0000-000000000000}"/>
          </ac:spMkLst>
        </pc:spChg>
        <pc:spChg chg="mod">
          <ac:chgData name="Frances Meek" userId="f3af35cc-3229-46e1-af36-3525661cfbd3" providerId="ADAL" clId="{F376D9DA-E273-402F-88CD-58A52DBC3E00}" dt="2022-06-01T13:10:36.228" v="266" actId="20577"/>
          <ac:spMkLst>
            <pc:docMk/>
            <pc:sldMk cId="1245899220" sldId="305"/>
            <ac:spMk id="3" creationId="{00000000-0000-0000-0000-000000000000}"/>
          </ac:spMkLst>
        </pc:spChg>
      </pc:sldChg>
      <pc:sldChg chg="modSp mod">
        <pc:chgData name="Frances Meek" userId="f3af35cc-3229-46e1-af36-3525661cfbd3" providerId="ADAL" clId="{F376D9DA-E273-402F-88CD-58A52DBC3E00}" dt="2022-06-01T13:01:57.079" v="152" actId="20577"/>
        <pc:sldMkLst>
          <pc:docMk/>
          <pc:sldMk cId="639185947" sldId="307"/>
        </pc:sldMkLst>
        <pc:spChg chg="mod">
          <ac:chgData name="Frances Meek" userId="f3af35cc-3229-46e1-af36-3525661cfbd3" providerId="ADAL" clId="{F376D9DA-E273-402F-88CD-58A52DBC3E00}" dt="2022-06-01T13:01:57.079" v="152" actId="20577"/>
          <ac:spMkLst>
            <pc:docMk/>
            <pc:sldMk cId="639185947" sldId="307"/>
            <ac:spMk id="6" creationId="{7E139491-A1F9-446A-A962-D8D49EB08F00}"/>
          </ac:spMkLst>
        </pc:spChg>
      </pc:sldChg>
      <pc:sldChg chg="addSp delSp modSp mod addCm delCm modCm">
        <pc:chgData name="Frances Meek" userId="f3af35cc-3229-46e1-af36-3525661cfbd3" providerId="ADAL" clId="{F376D9DA-E273-402F-88CD-58A52DBC3E00}" dt="2022-06-01T15:13:15.812" v="1168" actId="1076"/>
        <pc:sldMkLst>
          <pc:docMk/>
          <pc:sldMk cId="3979226011" sldId="308"/>
        </pc:sldMkLst>
        <pc:spChg chg="del">
          <ac:chgData name="Frances Meek" userId="f3af35cc-3229-46e1-af36-3525661cfbd3" providerId="ADAL" clId="{F376D9DA-E273-402F-88CD-58A52DBC3E00}" dt="2022-05-24T12:46:52.105" v="63" actId="478"/>
          <ac:spMkLst>
            <pc:docMk/>
            <pc:sldMk cId="3979226011" sldId="308"/>
            <ac:spMk id="8" creationId="{0F2489E1-C2AE-3ABA-965B-5CA4D65EFE76}"/>
          </ac:spMkLst>
        </pc:spChg>
        <pc:picChg chg="del">
          <ac:chgData name="Frances Meek" userId="f3af35cc-3229-46e1-af36-3525661cfbd3" providerId="ADAL" clId="{F376D9DA-E273-402F-88CD-58A52DBC3E00}" dt="2022-05-24T12:46:49.917" v="62" actId="478"/>
          <ac:picMkLst>
            <pc:docMk/>
            <pc:sldMk cId="3979226011" sldId="308"/>
            <ac:picMk id="3" creationId="{36B241DE-A7A3-2915-85B7-D8CA62B51D54}"/>
          </ac:picMkLst>
        </pc:picChg>
        <pc:picChg chg="mod">
          <ac:chgData name="Frances Meek" userId="f3af35cc-3229-46e1-af36-3525661cfbd3" providerId="ADAL" clId="{F376D9DA-E273-402F-88CD-58A52DBC3E00}" dt="2022-05-24T12:49:57.233" v="80" actId="1076"/>
          <ac:picMkLst>
            <pc:docMk/>
            <pc:sldMk cId="3979226011" sldId="308"/>
            <ac:picMk id="5" creationId="{9F319B15-F7C6-4A47-9199-60BCC6831A22}"/>
          </ac:picMkLst>
        </pc:picChg>
        <pc:picChg chg="mod">
          <ac:chgData name="Frances Meek" userId="f3af35cc-3229-46e1-af36-3525661cfbd3" providerId="ADAL" clId="{F376D9DA-E273-402F-88CD-58A52DBC3E00}" dt="2022-06-01T15:13:03.960" v="1163" actId="1076"/>
          <ac:picMkLst>
            <pc:docMk/>
            <pc:sldMk cId="3979226011" sldId="308"/>
            <ac:picMk id="6" creationId="{B003AB75-540C-419A-A73D-D842D8C487DD}"/>
          </ac:picMkLst>
        </pc:picChg>
        <pc:picChg chg="mod">
          <ac:chgData name="Frances Meek" userId="f3af35cc-3229-46e1-af36-3525661cfbd3" providerId="ADAL" clId="{F376D9DA-E273-402F-88CD-58A52DBC3E00}" dt="2022-06-01T15:13:15.812" v="1168" actId="1076"/>
          <ac:picMkLst>
            <pc:docMk/>
            <pc:sldMk cId="3979226011" sldId="308"/>
            <ac:picMk id="8" creationId="{17048F22-2837-4579-85F3-124B471098F8}"/>
          </ac:picMkLst>
        </pc:picChg>
        <pc:picChg chg="mod">
          <ac:chgData name="Frances Meek" userId="f3af35cc-3229-46e1-af36-3525661cfbd3" providerId="ADAL" clId="{F376D9DA-E273-402F-88CD-58A52DBC3E00}" dt="2022-06-01T14:03:22.103" v="556" actId="1076"/>
          <ac:picMkLst>
            <pc:docMk/>
            <pc:sldMk cId="3979226011" sldId="308"/>
            <ac:picMk id="9" creationId="{4D8FF41C-D09E-454C-ADD3-C636F509A25D}"/>
          </ac:picMkLst>
        </pc:picChg>
        <pc:picChg chg="add mod">
          <ac:chgData name="Frances Meek" userId="f3af35cc-3229-46e1-af36-3525661cfbd3" providerId="ADAL" clId="{F376D9DA-E273-402F-88CD-58A52DBC3E00}" dt="2022-06-01T15:13:06.324" v="1165" actId="1076"/>
          <ac:picMkLst>
            <pc:docMk/>
            <pc:sldMk cId="3979226011" sldId="308"/>
            <ac:picMk id="10" creationId="{8E0243E2-491B-B364-6B2B-E7DE675C15CB}"/>
          </ac:picMkLst>
        </pc:picChg>
        <pc:picChg chg="mod">
          <ac:chgData name="Frances Meek" userId="f3af35cc-3229-46e1-af36-3525661cfbd3" providerId="ADAL" clId="{F376D9DA-E273-402F-88CD-58A52DBC3E00}" dt="2022-06-01T14:03:20.811" v="555" actId="1076"/>
          <ac:picMkLst>
            <pc:docMk/>
            <pc:sldMk cId="3979226011" sldId="308"/>
            <ac:picMk id="11" creationId="{AE9A2AA5-8E19-40AB-ABB4-6C69C4410945}"/>
          </ac:picMkLst>
        </pc:picChg>
        <pc:picChg chg="add mod">
          <ac:chgData name="Frances Meek" userId="f3af35cc-3229-46e1-af36-3525661cfbd3" providerId="ADAL" clId="{F376D9DA-E273-402F-88CD-58A52DBC3E00}" dt="2022-05-24T12:47:00.344" v="69" actId="27614"/>
          <ac:picMkLst>
            <pc:docMk/>
            <pc:sldMk cId="3979226011" sldId="308"/>
            <ac:picMk id="12" creationId="{66F4C863-84B1-C42A-380F-A3318D212C25}"/>
          </ac:picMkLst>
        </pc:picChg>
        <pc:picChg chg="add del mod">
          <ac:chgData name="Frances Meek" userId="f3af35cc-3229-46e1-af36-3525661cfbd3" providerId="ADAL" clId="{F376D9DA-E273-402F-88CD-58A52DBC3E00}" dt="2022-06-01T14:05:59.964" v="563" actId="478"/>
          <ac:picMkLst>
            <pc:docMk/>
            <pc:sldMk cId="3979226011" sldId="308"/>
            <ac:picMk id="12" creationId="{DA787EE0-8E52-7ECA-7400-99D186ACB45B}"/>
          </ac:picMkLst>
        </pc:picChg>
        <pc:picChg chg="del mod">
          <ac:chgData name="Frances Meek" userId="f3af35cc-3229-46e1-af36-3525661cfbd3" providerId="ADAL" clId="{F376D9DA-E273-402F-88CD-58A52DBC3E00}" dt="2022-05-24T12:49:59.403" v="82" actId="478"/>
          <ac:picMkLst>
            <pc:docMk/>
            <pc:sldMk cId="3979226011" sldId="308"/>
            <ac:picMk id="13" creationId="{C98459B9-D101-4824-BC52-A966CF3EC9B6}"/>
          </ac:picMkLst>
        </pc:picChg>
        <pc:picChg chg="add del mod">
          <ac:chgData name="Frances Meek" userId="f3af35cc-3229-46e1-af36-3525661cfbd3" providerId="ADAL" clId="{F376D9DA-E273-402F-88CD-58A52DBC3E00}" dt="2022-05-24T12:49:53.429" v="77" actId="478"/>
          <ac:picMkLst>
            <pc:docMk/>
            <pc:sldMk cId="3979226011" sldId="308"/>
            <ac:picMk id="15" creationId="{9211E749-6E6A-4B2D-BCB1-9D409C524537}"/>
          </ac:picMkLst>
        </pc:picChg>
        <pc:picChg chg="add mod">
          <ac:chgData name="Frances Meek" userId="f3af35cc-3229-46e1-af36-3525661cfbd3" providerId="ADAL" clId="{F376D9DA-E273-402F-88CD-58A52DBC3E00}" dt="2022-06-01T15:13:07.419" v="1166" actId="1076"/>
          <ac:picMkLst>
            <pc:docMk/>
            <pc:sldMk cId="3979226011" sldId="308"/>
            <ac:picMk id="17" creationId="{33310B10-D808-729E-7E59-6863FE4D1EA7}"/>
          </ac:picMkLst>
        </pc:picChg>
      </pc:sldChg>
      <pc:sldChg chg="modSp mod addCm modCm">
        <pc:chgData name="Frances Meek" userId="f3af35cc-3229-46e1-af36-3525661cfbd3" providerId="ADAL" clId="{F376D9DA-E273-402F-88CD-58A52DBC3E00}" dt="2022-06-01T13:05:49.006" v="229" actId="20577"/>
        <pc:sldMkLst>
          <pc:docMk/>
          <pc:sldMk cId="3837550476" sldId="309"/>
        </pc:sldMkLst>
        <pc:spChg chg="mod">
          <ac:chgData name="Frances Meek" userId="f3af35cc-3229-46e1-af36-3525661cfbd3" providerId="ADAL" clId="{F376D9DA-E273-402F-88CD-58A52DBC3E00}" dt="2022-06-01T13:05:49.006" v="229" actId="20577"/>
          <ac:spMkLst>
            <pc:docMk/>
            <pc:sldMk cId="3837550476" sldId="309"/>
            <ac:spMk id="4" creationId="{C5AED35D-F009-4C6C-BE74-11E7A80DDC36}"/>
          </ac:spMkLst>
        </pc:spChg>
      </pc:sldChg>
      <pc:sldChg chg="addSp modSp mod">
        <pc:chgData name="Frances Meek" userId="f3af35cc-3229-46e1-af36-3525661cfbd3" providerId="ADAL" clId="{F376D9DA-E273-402F-88CD-58A52DBC3E00}" dt="2022-06-01T14:17:16.444" v="812" actId="313"/>
        <pc:sldMkLst>
          <pc:docMk/>
          <pc:sldMk cId="3209739012" sldId="310"/>
        </pc:sldMkLst>
        <pc:spChg chg="add mod">
          <ac:chgData name="Frances Meek" userId="f3af35cc-3229-46e1-af36-3525661cfbd3" providerId="ADAL" clId="{F376D9DA-E273-402F-88CD-58A52DBC3E00}" dt="2022-06-01T14:17:16.444" v="812" actId="313"/>
          <ac:spMkLst>
            <pc:docMk/>
            <pc:sldMk cId="3209739012" sldId="310"/>
            <ac:spMk id="3" creationId="{82E1E8C1-13C2-39F4-CCF1-E26E44E671DB}"/>
          </ac:spMkLst>
        </pc:spChg>
        <pc:picChg chg="mod">
          <ac:chgData name="Frances Meek" userId="f3af35cc-3229-46e1-af36-3525661cfbd3" providerId="ADAL" clId="{F376D9DA-E273-402F-88CD-58A52DBC3E00}" dt="2022-06-01T14:16:37.518" v="716"/>
          <ac:picMkLst>
            <pc:docMk/>
            <pc:sldMk cId="3209739012" sldId="310"/>
            <ac:picMk id="5" creationId="{FA42C68B-E6E9-486C-8F93-455C9B1B04F2}"/>
          </ac:picMkLst>
        </pc:picChg>
      </pc:sldChg>
      <pc:sldChg chg="modSp mod">
        <pc:chgData name="Frances Meek" userId="f3af35cc-3229-46e1-af36-3525661cfbd3" providerId="ADAL" clId="{F376D9DA-E273-402F-88CD-58A52DBC3E00}" dt="2022-06-01T13:03:13.892" v="219" actId="20577"/>
        <pc:sldMkLst>
          <pc:docMk/>
          <pc:sldMk cId="1959855485" sldId="311"/>
        </pc:sldMkLst>
        <pc:spChg chg="mod">
          <ac:chgData name="Frances Meek" userId="f3af35cc-3229-46e1-af36-3525661cfbd3" providerId="ADAL" clId="{F376D9DA-E273-402F-88CD-58A52DBC3E00}" dt="2022-06-01T13:03:13.892" v="219" actId="20577"/>
          <ac:spMkLst>
            <pc:docMk/>
            <pc:sldMk cId="1959855485" sldId="311"/>
            <ac:spMk id="4" creationId="{C5AED35D-F009-4C6C-BE74-11E7A80DDC36}"/>
          </ac:spMkLst>
        </pc:spChg>
      </pc:sldChg>
      <pc:sldChg chg="modSp mod">
        <pc:chgData name="Frances Meek" userId="f3af35cc-3229-46e1-af36-3525661cfbd3" providerId="ADAL" clId="{F376D9DA-E273-402F-88CD-58A52DBC3E00}" dt="2022-06-01T13:11:52.256" v="276" actId="20577"/>
        <pc:sldMkLst>
          <pc:docMk/>
          <pc:sldMk cId="4248556420" sldId="314"/>
        </pc:sldMkLst>
        <pc:spChg chg="mod">
          <ac:chgData name="Frances Meek" userId="f3af35cc-3229-46e1-af36-3525661cfbd3" providerId="ADAL" clId="{F376D9DA-E273-402F-88CD-58A52DBC3E00}" dt="2022-06-01T13:11:52.256" v="276" actId="20577"/>
          <ac:spMkLst>
            <pc:docMk/>
            <pc:sldMk cId="4248556420" sldId="314"/>
            <ac:spMk id="3" creationId="{96959814-9071-EAE4-F7AC-76E25031DC00}"/>
          </ac:spMkLst>
        </pc:spChg>
      </pc:sldChg>
      <pc:sldChg chg="modSp mod">
        <pc:chgData name="Frances Meek" userId="f3af35cc-3229-46e1-af36-3525661cfbd3" providerId="ADAL" clId="{F376D9DA-E273-402F-88CD-58A52DBC3E00}" dt="2022-06-01T13:13:21.582" v="278" actId="20577"/>
        <pc:sldMkLst>
          <pc:docMk/>
          <pc:sldMk cId="1627569597" sldId="315"/>
        </pc:sldMkLst>
        <pc:spChg chg="mod">
          <ac:chgData name="Frances Meek" userId="f3af35cc-3229-46e1-af36-3525661cfbd3" providerId="ADAL" clId="{F376D9DA-E273-402F-88CD-58A52DBC3E00}" dt="2022-06-01T13:13:21.582" v="278" actId="20577"/>
          <ac:spMkLst>
            <pc:docMk/>
            <pc:sldMk cId="1627569597" sldId="315"/>
            <ac:spMk id="3" creationId="{78101E67-B0F1-726C-7F13-95384EA7B94E}"/>
          </ac:spMkLst>
        </pc:spChg>
      </pc:sldChg>
      <pc:sldChg chg="addSp modSp mod">
        <pc:chgData name="Frances Meek" userId="f3af35cc-3229-46e1-af36-3525661cfbd3" providerId="ADAL" clId="{F376D9DA-E273-402F-88CD-58A52DBC3E00}" dt="2022-06-01T13:51:27.934" v="361" actId="255"/>
        <pc:sldMkLst>
          <pc:docMk/>
          <pc:sldMk cId="813545271" sldId="316"/>
        </pc:sldMkLst>
        <pc:spChg chg="mod">
          <ac:chgData name="Frances Meek" userId="f3af35cc-3229-46e1-af36-3525661cfbd3" providerId="ADAL" clId="{F376D9DA-E273-402F-88CD-58A52DBC3E00}" dt="2022-06-01T13:48:10.155" v="327" actId="20577"/>
          <ac:spMkLst>
            <pc:docMk/>
            <pc:sldMk cId="813545271" sldId="316"/>
            <ac:spMk id="4" creationId="{B951880E-2548-03FC-30F1-559F3B67733E}"/>
          </ac:spMkLst>
        </pc:spChg>
        <pc:spChg chg="add mod">
          <ac:chgData name="Frances Meek" userId="f3af35cc-3229-46e1-af36-3525661cfbd3" providerId="ADAL" clId="{F376D9DA-E273-402F-88CD-58A52DBC3E00}" dt="2022-06-01T13:51:27.934" v="361" actId="255"/>
          <ac:spMkLst>
            <pc:docMk/>
            <pc:sldMk cId="813545271" sldId="316"/>
            <ac:spMk id="5" creationId="{0410C826-2FD6-7E0F-5123-D40F86D424BC}"/>
          </ac:spMkLst>
        </pc:spChg>
      </pc:sldChg>
      <pc:sldChg chg="addSp delSp modSp mod">
        <pc:chgData name="Frances Meek" userId="f3af35cc-3229-46e1-af36-3525661cfbd3" providerId="ADAL" clId="{F376D9DA-E273-402F-88CD-58A52DBC3E00}" dt="2022-06-01T15:16:05.399" v="1199" actId="2711"/>
        <pc:sldMkLst>
          <pc:docMk/>
          <pc:sldMk cId="1986818962" sldId="317"/>
        </pc:sldMkLst>
        <pc:spChg chg="mod">
          <ac:chgData name="Frances Meek" userId="f3af35cc-3229-46e1-af36-3525661cfbd3" providerId="ADAL" clId="{F376D9DA-E273-402F-88CD-58A52DBC3E00}" dt="2022-06-01T14:09:27.122" v="667" actId="20577"/>
          <ac:spMkLst>
            <pc:docMk/>
            <pc:sldMk cId="1986818962" sldId="317"/>
            <ac:spMk id="2" creationId="{0087FBAB-EC07-CF2D-1C34-B286203D1DEB}"/>
          </ac:spMkLst>
        </pc:spChg>
        <pc:spChg chg="mod">
          <ac:chgData name="Frances Meek" userId="f3af35cc-3229-46e1-af36-3525661cfbd3" providerId="ADAL" clId="{F376D9DA-E273-402F-88CD-58A52DBC3E00}" dt="2022-06-01T15:16:05.399" v="1199" actId="2711"/>
          <ac:spMkLst>
            <pc:docMk/>
            <pc:sldMk cId="1986818962" sldId="317"/>
            <ac:spMk id="3" creationId="{F542AE94-456A-179B-63E4-5401D70ED4F9}"/>
          </ac:spMkLst>
        </pc:spChg>
        <pc:spChg chg="add del mod">
          <ac:chgData name="Frances Meek" userId="f3af35cc-3229-46e1-af36-3525661cfbd3" providerId="ADAL" clId="{F376D9DA-E273-402F-88CD-58A52DBC3E00}" dt="2022-06-01T14:29:46.780" v="1152" actId="21"/>
          <ac:spMkLst>
            <pc:docMk/>
            <pc:sldMk cId="1986818962" sldId="317"/>
            <ac:spMk id="4" creationId="{5D1D8E2A-5FDB-0B56-2B18-51010DF9D2D5}"/>
          </ac:spMkLst>
        </pc:spChg>
      </pc:sldChg>
      <pc:sldChg chg="modSp mod">
        <pc:chgData name="Frances Meek" userId="f3af35cc-3229-46e1-af36-3525661cfbd3" providerId="ADAL" clId="{F376D9DA-E273-402F-88CD-58A52DBC3E00}" dt="2022-06-01T13:00:42.460" v="111" actId="20577"/>
        <pc:sldMkLst>
          <pc:docMk/>
          <pc:sldMk cId="2671712240" sldId="318"/>
        </pc:sldMkLst>
        <pc:spChg chg="mod">
          <ac:chgData name="Frances Meek" userId="f3af35cc-3229-46e1-af36-3525661cfbd3" providerId="ADAL" clId="{F376D9DA-E273-402F-88CD-58A52DBC3E00}" dt="2022-06-01T13:00:42.460" v="111" actId="20577"/>
          <ac:spMkLst>
            <pc:docMk/>
            <pc:sldMk cId="2671712240" sldId="318"/>
            <ac:spMk id="3" creationId="{96959814-9071-EAE4-F7AC-76E25031DC00}"/>
          </ac:spMkLst>
        </pc:spChg>
      </pc:sldChg>
      <pc:sldChg chg="addSp modSp new mod">
        <pc:chgData name="Frances Meek" userId="f3af35cc-3229-46e1-af36-3525661cfbd3" providerId="ADAL" clId="{F376D9DA-E273-402F-88CD-58A52DBC3E00}" dt="2022-06-01T14:29:59.602" v="1161" actId="1076"/>
        <pc:sldMkLst>
          <pc:docMk/>
          <pc:sldMk cId="3337580201" sldId="319"/>
        </pc:sldMkLst>
        <pc:spChg chg="mod">
          <ac:chgData name="Frances Meek" userId="f3af35cc-3229-46e1-af36-3525661cfbd3" providerId="ADAL" clId="{F376D9DA-E273-402F-88CD-58A52DBC3E00}" dt="2022-06-01T14:19:58.914" v="961" actId="20577"/>
          <ac:spMkLst>
            <pc:docMk/>
            <pc:sldMk cId="3337580201" sldId="319"/>
            <ac:spMk id="2" creationId="{C5DC93FD-060A-E5B0-14CB-46A1A8AD58A8}"/>
          </ac:spMkLst>
        </pc:spChg>
        <pc:spChg chg="mod">
          <ac:chgData name="Frances Meek" userId="f3af35cc-3229-46e1-af36-3525661cfbd3" providerId="ADAL" clId="{F376D9DA-E273-402F-88CD-58A52DBC3E00}" dt="2022-06-01T14:29:51.682" v="1159" actId="5793"/>
          <ac:spMkLst>
            <pc:docMk/>
            <pc:sldMk cId="3337580201" sldId="319"/>
            <ac:spMk id="3" creationId="{EAD87E05-4B49-E732-779C-2064CC31FDEE}"/>
          </ac:spMkLst>
        </pc:spChg>
        <pc:spChg chg="add mod">
          <ac:chgData name="Frances Meek" userId="f3af35cc-3229-46e1-af36-3525661cfbd3" providerId="ADAL" clId="{F376D9DA-E273-402F-88CD-58A52DBC3E00}" dt="2022-06-01T14:29:59.602" v="1161" actId="1076"/>
          <ac:spMkLst>
            <pc:docMk/>
            <pc:sldMk cId="3337580201" sldId="319"/>
            <ac:spMk id="4" creationId="{4BD27418-D102-177E-7D37-B63466912C75}"/>
          </ac:spMkLst>
        </pc:spChg>
      </pc:sldChg>
      <pc:sldChg chg="modSp add mod">
        <pc:chgData name="Frances Meek" userId="f3af35cc-3229-46e1-af36-3525661cfbd3" providerId="ADAL" clId="{F376D9DA-E273-402F-88CD-58A52DBC3E00}" dt="2022-06-01T14:27:32.299" v="1018" actId="114"/>
        <pc:sldMkLst>
          <pc:docMk/>
          <pc:sldMk cId="3438535452" sldId="320"/>
        </pc:sldMkLst>
        <pc:spChg chg="mod">
          <ac:chgData name="Frances Meek" userId="f3af35cc-3229-46e1-af36-3525661cfbd3" providerId="ADAL" clId="{F376D9DA-E273-402F-88CD-58A52DBC3E00}" dt="2022-06-01T14:27:32.299" v="1018" actId="114"/>
          <ac:spMkLst>
            <pc:docMk/>
            <pc:sldMk cId="3438535452" sldId="320"/>
            <ac:spMk id="3" creationId="{F542AE94-456A-179B-63E4-5401D70ED4F9}"/>
          </ac:spMkLst>
        </pc:spChg>
      </pc:sldChg>
      <pc:sldChg chg="modSp mod">
        <pc:chgData name="Frances Meek" userId="f3af35cc-3229-46e1-af36-3525661cfbd3" providerId="ADAL" clId="{F376D9DA-E273-402F-88CD-58A52DBC3E00}" dt="2022-06-01T15:11:49.524" v="1162" actId="20577"/>
        <pc:sldMkLst>
          <pc:docMk/>
          <pc:sldMk cId="3997623350" sldId="322"/>
        </pc:sldMkLst>
        <pc:spChg chg="mod">
          <ac:chgData name="Frances Meek" userId="f3af35cc-3229-46e1-af36-3525661cfbd3" providerId="ADAL" clId="{F376D9DA-E273-402F-88CD-58A52DBC3E00}" dt="2022-06-01T15:11:49.524" v="1162" actId="20577"/>
          <ac:spMkLst>
            <pc:docMk/>
            <pc:sldMk cId="3997623350" sldId="322"/>
            <ac:spMk id="26" creationId="{D4D2C9E5-41BE-494E-84A0-DC1FB2634DAF}"/>
          </ac:spMkLst>
        </pc:spChg>
      </pc:sldChg>
    </pc:docChg>
  </pc:docChgLst>
  <pc:docChgLst>
    <pc:chgData name="Frances Meek" userId="f3af35cc-3229-46e1-af36-3525661cfbd3" providerId="ADAL" clId="{A6817BFB-24A8-414D-9EC0-11B69466F292}"/>
    <pc:docChg chg="custSel modSld">
      <pc:chgData name="Frances Meek" userId="f3af35cc-3229-46e1-af36-3525661cfbd3" providerId="ADAL" clId="{A6817BFB-24A8-414D-9EC0-11B69466F292}" dt="2022-06-10T12:55:17.560" v="2" actId="478"/>
      <pc:docMkLst>
        <pc:docMk/>
      </pc:docMkLst>
      <pc:sldChg chg="modSp mod">
        <pc:chgData name="Frances Meek" userId="f3af35cc-3229-46e1-af36-3525661cfbd3" providerId="ADAL" clId="{A6817BFB-24A8-414D-9EC0-11B69466F292}" dt="2022-06-10T12:54:17.694" v="0" actId="113"/>
        <pc:sldMkLst>
          <pc:docMk/>
          <pc:sldMk cId="3979226011" sldId="308"/>
        </pc:sldMkLst>
        <pc:spChg chg="mod">
          <ac:chgData name="Frances Meek" userId="f3af35cc-3229-46e1-af36-3525661cfbd3" providerId="ADAL" clId="{A6817BFB-24A8-414D-9EC0-11B69466F292}" dt="2022-06-10T12:54:17.694" v="0" actId="113"/>
          <ac:spMkLst>
            <pc:docMk/>
            <pc:sldMk cId="3979226011" sldId="308"/>
            <ac:spMk id="15" creationId="{35AD8946-B44D-4839-A63C-03F79AF49D71}"/>
          </ac:spMkLst>
        </pc:spChg>
      </pc:sldChg>
      <pc:sldChg chg="delSp modSp mod">
        <pc:chgData name="Frances Meek" userId="f3af35cc-3229-46e1-af36-3525661cfbd3" providerId="ADAL" clId="{A6817BFB-24A8-414D-9EC0-11B69466F292}" dt="2022-06-10T12:55:17.560" v="2" actId="478"/>
        <pc:sldMkLst>
          <pc:docMk/>
          <pc:sldMk cId="813545271" sldId="316"/>
        </pc:sldMkLst>
        <pc:spChg chg="del mod">
          <ac:chgData name="Frances Meek" userId="f3af35cc-3229-46e1-af36-3525661cfbd3" providerId="ADAL" clId="{A6817BFB-24A8-414D-9EC0-11B69466F292}" dt="2022-06-10T12:55:17.560" v="2" actId="478"/>
          <ac:spMkLst>
            <pc:docMk/>
            <pc:sldMk cId="813545271" sldId="316"/>
            <ac:spMk id="4" creationId="{B951880E-2548-03FC-30F1-559F3B67733E}"/>
          </ac:spMkLst>
        </pc:spChg>
      </pc:sldChg>
    </pc:docChg>
  </pc:docChgLst>
  <pc:docChgLst>
    <pc:chgData name="Ewen Trafford" userId="e520b4bf-a196-48b7-bc10-b1590a457daa" providerId="ADAL" clId="{6C03F216-C3BC-47B5-8764-F031155F8633}"/>
    <pc:docChg chg="custSel modSld">
      <pc:chgData name="Ewen Trafford" userId="e520b4bf-a196-48b7-bc10-b1590a457daa" providerId="ADAL" clId="{6C03F216-C3BC-47B5-8764-F031155F8633}" dt="2022-07-20T09:10:09.780" v="160" actId="20577"/>
      <pc:docMkLst>
        <pc:docMk/>
      </pc:docMkLst>
      <pc:sldChg chg="modSp mod">
        <pc:chgData name="Ewen Trafford" userId="e520b4bf-a196-48b7-bc10-b1590a457daa" providerId="ADAL" clId="{6C03F216-C3BC-47B5-8764-F031155F8633}" dt="2022-07-20T09:10:09.780" v="160" actId="20577"/>
        <pc:sldMkLst>
          <pc:docMk/>
          <pc:sldMk cId="2450036879" sldId="324"/>
        </pc:sldMkLst>
        <pc:graphicFrameChg chg="modGraphic">
          <ac:chgData name="Ewen Trafford" userId="e520b4bf-a196-48b7-bc10-b1590a457daa" providerId="ADAL" clId="{6C03F216-C3BC-47B5-8764-F031155F8633}" dt="2022-07-20T09:10:09.780" v="160" actId="20577"/>
          <ac:graphicFrameMkLst>
            <pc:docMk/>
            <pc:sldMk cId="2450036879" sldId="324"/>
            <ac:graphicFrameMk id="7" creationId="{21663884-8A5D-DD9A-B4F0-E1EED248AA0D}"/>
          </ac:graphicFrameMkLst>
        </pc:graphicFrameChg>
      </pc:sldChg>
    </pc:docChg>
  </pc:docChgLst>
  <pc:docChgLst>
    <pc:chgData name="Guest User" userId="S::urn:spo:anon#5c1cd7b39cb30a75ca1cea0fb2ba435992d6c6a6b484349a9ca7505025227c67::" providerId="AD" clId="Web-{C50870E9-6EF1-03AB-CB1D-15364C36965A}"/>
    <pc:docChg chg="addSld delSld modSld sldOrd">
      <pc:chgData name="Guest User" userId="S::urn:spo:anon#5c1cd7b39cb30a75ca1cea0fb2ba435992d6c6a6b484349a9ca7505025227c67::" providerId="AD" clId="Web-{C50870E9-6EF1-03AB-CB1D-15364C36965A}" dt="2022-05-24T13:31:43.176" v="1598" actId="14100"/>
      <pc:docMkLst>
        <pc:docMk/>
      </pc:docMkLst>
      <pc:sldChg chg="modSp delCm modCm">
        <pc:chgData name="Guest User" userId="S::urn:spo:anon#5c1cd7b39cb30a75ca1cea0fb2ba435992d6c6a6b484349a9ca7505025227c67::" providerId="AD" clId="Web-{C50870E9-6EF1-03AB-CB1D-15364C36965A}" dt="2022-05-24T13:31:17.722" v="1596"/>
        <pc:sldMkLst>
          <pc:docMk/>
          <pc:sldMk cId="3993973292" sldId="274"/>
        </pc:sldMkLst>
        <pc:spChg chg="mod">
          <ac:chgData name="Guest User" userId="S::urn:spo:anon#5c1cd7b39cb30a75ca1cea0fb2ba435992d6c6a6b484349a9ca7505025227c67::" providerId="AD" clId="Web-{C50870E9-6EF1-03AB-CB1D-15364C36965A}" dt="2022-05-24T09:34:19.103" v="436" actId="20577"/>
          <ac:spMkLst>
            <pc:docMk/>
            <pc:sldMk cId="3993973292" sldId="274"/>
            <ac:spMk id="2" creationId="{00000000-0000-0000-0000-000000000000}"/>
          </ac:spMkLst>
        </pc:spChg>
        <pc:spChg chg="mod">
          <ac:chgData name="Guest User" userId="S::urn:spo:anon#5c1cd7b39cb30a75ca1cea0fb2ba435992d6c6a6b484349a9ca7505025227c67::" providerId="AD" clId="Web-{C50870E9-6EF1-03AB-CB1D-15364C36965A}" dt="2022-05-24T09:39:23.437" v="559" actId="20577"/>
          <ac:spMkLst>
            <pc:docMk/>
            <pc:sldMk cId="3993973292" sldId="274"/>
            <ac:spMk id="3" creationId="{00000000-0000-0000-0000-000000000000}"/>
          </ac:spMkLst>
        </pc:spChg>
      </pc:sldChg>
      <pc:sldChg chg="modSp">
        <pc:chgData name="Guest User" userId="S::urn:spo:anon#5c1cd7b39cb30a75ca1cea0fb2ba435992d6c6a6b484349a9ca7505025227c67::" providerId="AD" clId="Web-{C50870E9-6EF1-03AB-CB1D-15364C36965A}" dt="2022-05-24T10:59:09.767" v="1184" actId="20577"/>
        <pc:sldMkLst>
          <pc:docMk/>
          <pc:sldMk cId="3137792006" sldId="277"/>
        </pc:sldMkLst>
        <pc:spChg chg="mod">
          <ac:chgData name="Guest User" userId="S::urn:spo:anon#5c1cd7b39cb30a75ca1cea0fb2ba435992d6c6a6b484349a9ca7505025227c67::" providerId="AD" clId="Web-{C50870E9-6EF1-03AB-CB1D-15364C36965A}" dt="2022-05-24T10:59:09.767" v="1184" actId="20577"/>
          <ac:spMkLst>
            <pc:docMk/>
            <pc:sldMk cId="3137792006" sldId="277"/>
            <ac:spMk id="3" creationId="{00000000-0000-0000-0000-000000000000}"/>
          </ac:spMkLst>
        </pc:spChg>
      </pc:sldChg>
      <pc:sldChg chg="addSp delSp modSp addCm">
        <pc:chgData name="Guest User" userId="S::urn:spo:anon#5c1cd7b39cb30a75ca1cea0fb2ba435992d6c6a6b484349a9ca7505025227c67::" providerId="AD" clId="Web-{C50870E9-6EF1-03AB-CB1D-15364C36965A}" dt="2022-05-24T09:16:34.441" v="307" actId="20577"/>
        <pc:sldMkLst>
          <pc:docMk/>
          <pc:sldMk cId="1351839580" sldId="294"/>
        </pc:sldMkLst>
        <pc:spChg chg="mod">
          <ac:chgData name="Guest User" userId="S::urn:spo:anon#5c1cd7b39cb30a75ca1cea0fb2ba435992d6c6a6b484349a9ca7505025227c67::" providerId="AD" clId="Web-{C50870E9-6EF1-03AB-CB1D-15364C36965A}" dt="2022-05-24T08:58:51.248" v="152" actId="20577"/>
          <ac:spMkLst>
            <pc:docMk/>
            <pc:sldMk cId="1351839580" sldId="294"/>
            <ac:spMk id="2" creationId="{00000000-0000-0000-0000-000000000000}"/>
          </ac:spMkLst>
        </pc:spChg>
        <pc:spChg chg="add mod">
          <ac:chgData name="Guest User" userId="S::urn:spo:anon#5c1cd7b39cb30a75ca1cea0fb2ba435992d6c6a6b484349a9ca7505025227c67::" providerId="AD" clId="Web-{C50870E9-6EF1-03AB-CB1D-15364C36965A}" dt="2022-05-24T09:13:11.796" v="277" actId="1076"/>
          <ac:spMkLst>
            <pc:docMk/>
            <pc:sldMk cId="1351839580" sldId="294"/>
            <ac:spMk id="3" creationId="{CDDA6D2C-3FB8-7389-0564-F3A1F0EE7142}"/>
          </ac:spMkLst>
        </pc:spChg>
        <pc:spChg chg="mod">
          <ac:chgData name="Guest User" userId="S::urn:spo:anon#5c1cd7b39cb30a75ca1cea0fb2ba435992d6c6a6b484349a9ca7505025227c67::" providerId="AD" clId="Web-{C50870E9-6EF1-03AB-CB1D-15364C36965A}" dt="2022-05-24T09:16:34.441" v="307" actId="20577"/>
          <ac:spMkLst>
            <pc:docMk/>
            <pc:sldMk cId="1351839580" sldId="294"/>
            <ac:spMk id="7" creationId="{9F5610B5-B857-41E6-8A9E-1F8B928123A4}"/>
          </ac:spMkLst>
        </pc:spChg>
        <pc:spChg chg="del">
          <ac:chgData name="Guest User" userId="S::urn:spo:anon#5c1cd7b39cb30a75ca1cea0fb2ba435992d6c6a6b484349a9ca7505025227c67::" providerId="AD" clId="Web-{C50870E9-6EF1-03AB-CB1D-15364C36965A}" dt="2022-05-24T08:59:53.327" v="154"/>
          <ac:spMkLst>
            <pc:docMk/>
            <pc:sldMk cId="1351839580" sldId="294"/>
            <ac:spMk id="9" creationId="{0E22F708-6B73-49F0-B8C3-FF211A0897A3}"/>
          </ac:spMkLst>
        </pc:spChg>
        <pc:picChg chg="del">
          <ac:chgData name="Guest User" userId="S::urn:spo:anon#5c1cd7b39cb30a75ca1cea0fb2ba435992d6c6a6b484349a9ca7505025227c67::" providerId="AD" clId="Web-{C50870E9-6EF1-03AB-CB1D-15364C36965A}" dt="2022-05-24T08:59:50.671" v="153"/>
          <ac:picMkLst>
            <pc:docMk/>
            <pc:sldMk cId="1351839580" sldId="294"/>
            <ac:picMk id="8" creationId="{16D46C16-92A3-45F0-B70B-CECED0C8A5DB}"/>
          </ac:picMkLst>
        </pc:picChg>
      </pc:sldChg>
      <pc:sldChg chg="modSp delCm">
        <pc:chgData name="Guest User" userId="S::urn:spo:anon#5c1cd7b39cb30a75ca1cea0fb2ba435992d6c6a6b484349a9ca7505025227c67::" providerId="AD" clId="Web-{C50870E9-6EF1-03AB-CB1D-15364C36965A}" dt="2022-05-24T11:35:57.327" v="1485"/>
        <pc:sldMkLst>
          <pc:docMk/>
          <pc:sldMk cId="2939916080" sldId="299"/>
        </pc:sldMkLst>
        <pc:spChg chg="mod">
          <ac:chgData name="Guest User" userId="S::urn:spo:anon#5c1cd7b39cb30a75ca1cea0fb2ba435992d6c6a6b484349a9ca7505025227c67::" providerId="AD" clId="Web-{C50870E9-6EF1-03AB-CB1D-15364C36965A}" dt="2022-05-24T11:35:52.561" v="1484" actId="20577"/>
          <ac:spMkLst>
            <pc:docMk/>
            <pc:sldMk cId="2939916080" sldId="299"/>
            <ac:spMk id="3" creationId="{00000000-0000-0000-0000-000000000000}"/>
          </ac:spMkLst>
        </pc:spChg>
      </pc:sldChg>
      <pc:sldChg chg="del">
        <pc:chgData name="Guest User" userId="S::urn:spo:anon#5c1cd7b39cb30a75ca1cea0fb2ba435992d6c6a6b484349a9ca7505025227c67::" providerId="AD" clId="Web-{C50870E9-6EF1-03AB-CB1D-15364C36965A}" dt="2022-05-24T11:33:28.855" v="1462"/>
        <pc:sldMkLst>
          <pc:docMk/>
          <pc:sldMk cId="3911799715" sldId="300"/>
        </pc:sldMkLst>
      </pc:sldChg>
      <pc:sldChg chg="modSp">
        <pc:chgData name="Guest User" userId="S::urn:spo:anon#5c1cd7b39cb30a75ca1cea0fb2ba435992d6c6a6b484349a9ca7505025227c67::" providerId="AD" clId="Web-{C50870E9-6EF1-03AB-CB1D-15364C36965A}" dt="2022-05-24T09:27:30.063" v="383" actId="20577"/>
        <pc:sldMkLst>
          <pc:docMk/>
          <pc:sldMk cId="4146092675" sldId="301"/>
        </pc:sldMkLst>
        <pc:spChg chg="mod">
          <ac:chgData name="Guest User" userId="S::urn:spo:anon#5c1cd7b39cb30a75ca1cea0fb2ba435992d6c6a6b484349a9ca7505025227c67::" providerId="AD" clId="Web-{C50870E9-6EF1-03AB-CB1D-15364C36965A}" dt="2022-05-24T09:27:30.063" v="383" actId="20577"/>
          <ac:spMkLst>
            <pc:docMk/>
            <pc:sldMk cId="4146092675" sldId="301"/>
            <ac:spMk id="2" creationId="{ECB39143-43DB-404B-999A-68A64BABF4DE}"/>
          </ac:spMkLst>
        </pc:spChg>
        <pc:spChg chg="mod">
          <ac:chgData name="Guest User" userId="S::urn:spo:anon#5c1cd7b39cb30a75ca1cea0fb2ba435992d6c6a6b484349a9ca7505025227c67::" providerId="AD" clId="Web-{C50870E9-6EF1-03AB-CB1D-15364C36965A}" dt="2022-05-24T09:27:17.751" v="381" actId="20577"/>
          <ac:spMkLst>
            <pc:docMk/>
            <pc:sldMk cId="4146092675" sldId="301"/>
            <ac:spMk id="4" creationId="{AD0D0778-949E-4414-BC9B-77E033DFFAA2}"/>
          </ac:spMkLst>
        </pc:spChg>
      </pc:sldChg>
      <pc:sldChg chg="modSp">
        <pc:chgData name="Guest User" userId="S::urn:spo:anon#5c1cd7b39cb30a75ca1cea0fb2ba435992d6c6a6b484349a9ca7505025227c67::" providerId="AD" clId="Web-{C50870E9-6EF1-03AB-CB1D-15364C36965A}" dt="2022-05-24T09:41:11.143" v="562" actId="20577"/>
        <pc:sldMkLst>
          <pc:docMk/>
          <pc:sldMk cId="1274149409" sldId="302"/>
        </pc:sldMkLst>
        <pc:spChg chg="mod">
          <ac:chgData name="Guest User" userId="S::urn:spo:anon#5c1cd7b39cb30a75ca1cea0fb2ba435992d6c6a6b484349a9ca7505025227c67::" providerId="AD" clId="Web-{C50870E9-6EF1-03AB-CB1D-15364C36965A}" dt="2022-05-24T09:41:11.143" v="562" actId="20577"/>
          <ac:spMkLst>
            <pc:docMk/>
            <pc:sldMk cId="1274149409" sldId="302"/>
            <ac:spMk id="3" creationId="{00000000-0000-0000-0000-000000000000}"/>
          </ac:spMkLst>
        </pc:spChg>
      </pc:sldChg>
      <pc:sldChg chg="modSp">
        <pc:chgData name="Guest User" userId="S::urn:spo:anon#5c1cd7b39cb30a75ca1cea0fb2ba435992d6c6a6b484349a9ca7505025227c67::" providerId="AD" clId="Web-{C50870E9-6EF1-03AB-CB1D-15364C36965A}" dt="2022-05-24T10:28:08.449" v="1150" actId="20577"/>
        <pc:sldMkLst>
          <pc:docMk/>
          <pc:sldMk cId="1875858968" sldId="303"/>
        </pc:sldMkLst>
        <pc:spChg chg="mod">
          <ac:chgData name="Guest User" userId="S::urn:spo:anon#5c1cd7b39cb30a75ca1cea0fb2ba435992d6c6a6b484349a9ca7505025227c67::" providerId="AD" clId="Web-{C50870E9-6EF1-03AB-CB1D-15364C36965A}" dt="2022-05-24T10:28:08.449" v="1150" actId="20577"/>
          <ac:spMkLst>
            <pc:docMk/>
            <pc:sldMk cId="1875858968" sldId="303"/>
            <ac:spMk id="3" creationId="{00000000-0000-0000-0000-000000000000}"/>
          </ac:spMkLst>
        </pc:spChg>
      </pc:sldChg>
      <pc:sldChg chg="modSp modNotes">
        <pc:chgData name="Guest User" userId="S::urn:spo:anon#5c1cd7b39cb30a75ca1cea0fb2ba435992d6c6a6b484349a9ca7505025227c67::" providerId="AD" clId="Web-{C50870E9-6EF1-03AB-CB1D-15364C36965A}" dt="2022-05-24T11:55:01.803" v="1587" actId="20577"/>
        <pc:sldMkLst>
          <pc:docMk/>
          <pc:sldMk cId="681281634" sldId="304"/>
        </pc:sldMkLst>
        <pc:spChg chg="mod">
          <ac:chgData name="Guest User" userId="S::urn:spo:anon#5c1cd7b39cb30a75ca1cea0fb2ba435992d6c6a6b484349a9ca7505025227c67::" providerId="AD" clId="Web-{C50870E9-6EF1-03AB-CB1D-15364C36965A}" dt="2022-05-24T11:55:01.803" v="1587" actId="20577"/>
          <ac:spMkLst>
            <pc:docMk/>
            <pc:sldMk cId="681281634" sldId="304"/>
            <ac:spMk id="3" creationId="{00000000-0000-0000-0000-000000000000}"/>
          </ac:spMkLst>
        </pc:spChg>
      </pc:sldChg>
      <pc:sldChg chg="modSp">
        <pc:chgData name="Guest User" userId="S::urn:spo:anon#5c1cd7b39cb30a75ca1cea0fb2ba435992d6c6a6b484349a9ca7505025227c67::" providerId="AD" clId="Web-{C50870E9-6EF1-03AB-CB1D-15364C36965A}" dt="2022-05-24T10:18:55.578" v="978" actId="20577"/>
        <pc:sldMkLst>
          <pc:docMk/>
          <pc:sldMk cId="1245899220" sldId="305"/>
        </pc:sldMkLst>
        <pc:spChg chg="mod">
          <ac:chgData name="Guest User" userId="S::urn:spo:anon#5c1cd7b39cb30a75ca1cea0fb2ba435992d6c6a6b484349a9ca7505025227c67::" providerId="AD" clId="Web-{C50870E9-6EF1-03AB-CB1D-15364C36965A}" dt="2022-05-24T10:18:55.578" v="978" actId="20577"/>
          <ac:spMkLst>
            <pc:docMk/>
            <pc:sldMk cId="1245899220" sldId="305"/>
            <ac:spMk id="3" creationId="{00000000-0000-0000-0000-000000000000}"/>
          </ac:spMkLst>
        </pc:spChg>
        <pc:picChg chg="mod">
          <ac:chgData name="Guest User" userId="S::urn:spo:anon#5c1cd7b39cb30a75ca1cea0fb2ba435992d6c6a6b484349a9ca7505025227c67::" providerId="AD" clId="Web-{C50870E9-6EF1-03AB-CB1D-15364C36965A}" dt="2022-05-24T09:50:37.185" v="672" actId="1076"/>
          <ac:picMkLst>
            <pc:docMk/>
            <pc:sldMk cId="1245899220" sldId="305"/>
            <ac:picMk id="9" creationId="{6B2C2443-1A77-46BF-B2F8-964EF726DF1E}"/>
          </ac:picMkLst>
        </pc:picChg>
      </pc:sldChg>
      <pc:sldChg chg="modSp">
        <pc:chgData name="Guest User" userId="S::urn:spo:anon#5c1cd7b39cb30a75ca1cea0fb2ba435992d6c6a6b484349a9ca7505025227c67::" providerId="AD" clId="Web-{C50870E9-6EF1-03AB-CB1D-15364C36965A}" dt="2022-05-24T10:01:30.667" v="791" actId="20577"/>
        <pc:sldMkLst>
          <pc:docMk/>
          <pc:sldMk cId="2779867094" sldId="306"/>
        </pc:sldMkLst>
        <pc:spChg chg="mod">
          <ac:chgData name="Guest User" userId="S::urn:spo:anon#5c1cd7b39cb30a75ca1cea0fb2ba435992d6c6a6b484349a9ca7505025227c67::" providerId="AD" clId="Web-{C50870E9-6EF1-03AB-CB1D-15364C36965A}" dt="2022-05-24T10:01:30.667" v="791" actId="20577"/>
          <ac:spMkLst>
            <pc:docMk/>
            <pc:sldMk cId="2779867094" sldId="306"/>
            <ac:spMk id="3" creationId="{00000000-0000-0000-0000-000000000000}"/>
          </ac:spMkLst>
        </pc:spChg>
      </pc:sldChg>
      <pc:sldChg chg="modSp">
        <pc:chgData name="Guest User" userId="S::urn:spo:anon#5c1cd7b39cb30a75ca1cea0fb2ba435992d6c6a6b484349a9ca7505025227c67::" providerId="AD" clId="Web-{C50870E9-6EF1-03AB-CB1D-15364C36965A}" dt="2022-05-24T09:17:54.849" v="310" actId="20577"/>
        <pc:sldMkLst>
          <pc:docMk/>
          <pc:sldMk cId="639185947" sldId="307"/>
        </pc:sldMkLst>
        <pc:spChg chg="mod">
          <ac:chgData name="Guest User" userId="S::urn:spo:anon#5c1cd7b39cb30a75ca1cea0fb2ba435992d6c6a6b484349a9ca7505025227c67::" providerId="AD" clId="Web-{C50870E9-6EF1-03AB-CB1D-15364C36965A}" dt="2022-05-24T09:17:54.849" v="310" actId="20577"/>
          <ac:spMkLst>
            <pc:docMk/>
            <pc:sldMk cId="639185947" sldId="307"/>
            <ac:spMk id="4" creationId="{DDDB30AC-431A-410C-94CB-E2E50716CA4B}"/>
          </ac:spMkLst>
        </pc:spChg>
      </pc:sldChg>
      <pc:sldChg chg="addSp modSp addCm">
        <pc:chgData name="Guest User" userId="S::urn:spo:anon#5c1cd7b39cb30a75ca1cea0fb2ba435992d6c6a6b484349a9ca7505025227c67::" providerId="AD" clId="Web-{C50870E9-6EF1-03AB-CB1D-15364C36965A}" dt="2022-05-24T13:31:43.176" v="1598" actId="14100"/>
        <pc:sldMkLst>
          <pc:docMk/>
          <pc:sldMk cId="3979226011" sldId="308"/>
        </pc:sldMkLst>
        <pc:spChg chg="mod">
          <ac:chgData name="Guest User" userId="S::urn:spo:anon#5c1cd7b39cb30a75ca1cea0fb2ba435992d6c6a6b484349a9ca7505025227c67::" providerId="AD" clId="Web-{C50870E9-6EF1-03AB-CB1D-15364C36965A}" dt="2022-05-24T11:27:16.910" v="1392" actId="20577"/>
          <ac:spMkLst>
            <pc:docMk/>
            <pc:sldMk cId="3979226011" sldId="308"/>
            <ac:spMk id="4" creationId="{31D1D560-E2D2-4E0C-981E-4F1AB853B238}"/>
          </ac:spMkLst>
        </pc:spChg>
        <pc:spChg chg="add mod">
          <ac:chgData name="Guest User" userId="S::urn:spo:anon#5c1cd7b39cb30a75ca1cea0fb2ba435992d6c6a6b484349a9ca7505025227c67::" providerId="AD" clId="Web-{C50870E9-6EF1-03AB-CB1D-15364C36965A}" dt="2022-05-24T11:31:00.930" v="1412" actId="1076"/>
          <ac:spMkLst>
            <pc:docMk/>
            <pc:sldMk cId="3979226011" sldId="308"/>
            <ac:spMk id="8" creationId="{0F2489E1-C2AE-3ABA-965B-5CA4D65EFE76}"/>
          </ac:spMkLst>
        </pc:spChg>
        <pc:picChg chg="add mod modCrop">
          <ac:chgData name="Guest User" userId="S::urn:spo:anon#5c1cd7b39cb30a75ca1cea0fb2ba435992d6c6a6b484349a9ca7505025227c67::" providerId="AD" clId="Web-{C50870E9-6EF1-03AB-CB1D-15364C36965A}" dt="2022-05-24T11:31:13.509" v="1416" actId="1076"/>
          <ac:picMkLst>
            <pc:docMk/>
            <pc:sldMk cId="3979226011" sldId="308"/>
            <ac:picMk id="3" creationId="{36B241DE-A7A3-2915-85B7-D8CA62B51D54}"/>
          </ac:picMkLst>
        </pc:picChg>
        <pc:picChg chg="mod">
          <ac:chgData name="Guest User" userId="S::urn:spo:anon#5c1cd7b39cb30a75ca1cea0fb2ba435992d6c6a6b484349a9ca7505025227c67::" providerId="AD" clId="Web-{C50870E9-6EF1-03AB-CB1D-15364C36965A}" dt="2022-05-24T11:29:45.366" v="1395" actId="1076"/>
          <ac:picMkLst>
            <pc:docMk/>
            <pc:sldMk cId="3979226011" sldId="308"/>
            <ac:picMk id="5" creationId="{9F319B15-F7C6-4A47-9199-60BCC6831A22}"/>
          </ac:picMkLst>
        </pc:picChg>
        <pc:picChg chg="mod">
          <ac:chgData name="Guest User" userId="S::urn:spo:anon#5c1cd7b39cb30a75ca1cea0fb2ba435992d6c6a6b484349a9ca7505025227c67::" providerId="AD" clId="Web-{C50870E9-6EF1-03AB-CB1D-15364C36965A}" dt="2022-05-24T11:30:31.164" v="1406" actId="1076"/>
          <ac:picMkLst>
            <pc:docMk/>
            <pc:sldMk cId="3979226011" sldId="308"/>
            <ac:picMk id="6" creationId="{B003AB75-540C-419A-A73D-D842D8C487DD}"/>
          </ac:picMkLst>
        </pc:picChg>
        <pc:picChg chg="mod">
          <ac:chgData name="Guest User" userId="S::urn:spo:anon#5c1cd7b39cb30a75ca1cea0fb2ba435992d6c6a6b484349a9ca7505025227c67::" providerId="AD" clId="Web-{C50870E9-6EF1-03AB-CB1D-15364C36965A}" dt="2022-05-24T13:31:40.051" v="1597" actId="14100"/>
          <ac:picMkLst>
            <pc:docMk/>
            <pc:sldMk cId="3979226011" sldId="308"/>
            <ac:picMk id="9" creationId="{4D8FF41C-D09E-454C-ADD3-C636F509A25D}"/>
          </ac:picMkLst>
        </pc:picChg>
        <pc:picChg chg="mod">
          <ac:chgData name="Guest User" userId="S::urn:spo:anon#5c1cd7b39cb30a75ca1cea0fb2ba435992d6c6a6b484349a9ca7505025227c67::" providerId="AD" clId="Web-{C50870E9-6EF1-03AB-CB1D-15364C36965A}" dt="2022-05-24T13:31:43.176" v="1598" actId="14100"/>
          <ac:picMkLst>
            <pc:docMk/>
            <pc:sldMk cId="3979226011" sldId="308"/>
            <ac:picMk id="12" creationId="{66F4C863-84B1-C42A-380F-A3318D212C25}"/>
          </ac:picMkLst>
        </pc:picChg>
        <pc:picChg chg="mod">
          <ac:chgData name="Guest User" userId="S::urn:spo:anon#5c1cd7b39cb30a75ca1cea0fb2ba435992d6c6a6b484349a9ca7505025227c67::" providerId="AD" clId="Web-{C50870E9-6EF1-03AB-CB1D-15364C36965A}" dt="2022-05-24T11:30:29.789" v="1405" actId="1076"/>
          <ac:picMkLst>
            <pc:docMk/>
            <pc:sldMk cId="3979226011" sldId="308"/>
            <ac:picMk id="13" creationId="{C98459B9-D101-4824-BC52-A966CF3EC9B6}"/>
          </ac:picMkLst>
        </pc:picChg>
      </pc:sldChg>
      <pc:sldChg chg="modSp delCm">
        <pc:chgData name="Guest User" userId="S::urn:spo:anon#5c1cd7b39cb30a75ca1cea0fb2ba435992d6c6a6b484349a9ca7505025227c67::" providerId="AD" clId="Web-{C50870E9-6EF1-03AB-CB1D-15364C36965A}" dt="2022-05-24T11:50:22.422" v="1583" actId="20577"/>
        <pc:sldMkLst>
          <pc:docMk/>
          <pc:sldMk cId="3209739012" sldId="310"/>
        </pc:sldMkLst>
        <pc:spChg chg="mod">
          <ac:chgData name="Guest User" userId="S::urn:spo:anon#5c1cd7b39cb30a75ca1cea0fb2ba435992d6c6a6b484349a9ca7505025227c67::" providerId="AD" clId="Web-{C50870E9-6EF1-03AB-CB1D-15364C36965A}" dt="2022-05-24T11:50:22.422" v="1583" actId="20577"/>
          <ac:spMkLst>
            <pc:docMk/>
            <pc:sldMk cId="3209739012" sldId="310"/>
            <ac:spMk id="8" creationId="{EC2AA5D8-F8D8-4242-8DAC-9758B8843027}"/>
          </ac:spMkLst>
        </pc:spChg>
      </pc:sldChg>
      <pc:sldChg chg="modSp ord">
        <pc:chgData name="Guest User" userId="S::urn:spo:anon#5c1cd7b39cb30a75ca1cea0fb2ba435992d6c6a6b484349a9ca7505025227c67::" providerId="AD" clId="Web-{C50870E9-6EF1-03AB-CB1D-15364C36965A}" dt="2022-05-24T11:52:15.393" v="1585" actId="20577"/>
        <pc:sldMkLst>
          <pc:docMk/>
          <pc:sldMk cId="1959855485" sldId="311"/>
        </pc:sldMkLst>
        <pc:spChg chg="mod">
          <ac:chgData name="Guest User" userId="S::urn:spo:anon#5c1cd7b39cb30a75ca1cea0fb2ba435992d6c6a6b484349a9ca7505025227c67::" providerId="AD" clId="Web-{C50870E9-6EF1-03AB-CB1D-15364C36965A}" dt="2022-05-24T11:52:15.393" v="1585" actId="20577"/>
          <ac:spMkLst>
            <pc:docMk/>
            <pc:sldMk cId="1959855485" sldId="311"/>
            <ac:spMk id="2" creationId="{ECB39143-43DB-404B-999A-68A64BABF4DE}"/>
          </ac:spMkLst>
        </pc:spChg>
        <pc:spChg chg="mod">
          <ac:chgData name="Guest User" userId="S::urn:spo:anon#5c1cd7b39cb30a75ca1cea0fb2ba435992d6c6a6b484349a9ca7505025227c67::" providerId="AD" clId="Web-{C50870E9-6EF1-03AB-CB1D-15364C36965A}" dt="2022-05-24T08:56:41.573" v="145" actId="20577"/>
          <ac:spMkLst>
            <pc:docMk/>
            <pc:sldMk cId="1959855485" sldId="311"/>
            <ac:spMk id="4" creationId="{C5AED35D-F009-4C6C-BE74-11E7A80DDC36}"/>
          </ac:spMkLst>
        </pc:spChg>
      </pc:sldChg>
      <pc:sldChg chg="modSp">
        <pc:chgData name="Guest User" userId="S::urn:spo:anon#5c1cd7b39cb30a75ca1cea0fb2ba435992d6c6a6b484349a9ca7505025227c67::" providerId="AD" clId="Web-{C50870E9-6EF1-03AB-CB1D-15364C36965A}" dt="2022-05-24T09:53:43.501" v="717" actId="20577"/>
        <pc:sldMkLst>
          <pc:docMk/>
          <pc:sldMk cId="2124743312" sldId="312"/>
        </pc:sldMkLst>
        <pc:spChg chg="mod">
          <ac:chgData name="Guest User" userId="S::urn:spo:anon#5c1cd7b39cb30a75ca1cea0fb2ba435992d6c6a6b484349a9ca7505025227c67::" providerId="AD" clId="Web-{C50870E9-6EF1-03AB-CB1D-15364C36965A}" dt="2022-05-24T09:53:43.501" v="717" actId="20577"/>
          <ac:spMkLst>
            <pc:docMk/>
            <pc:sldMk cId="2124743312" sldId="312"/>
            <ac:spMk id="3" creationId="{00000000-0000-0000-0000-000000000000}"/>
          </ac:spMkLst>
        </pc:spChg>
      </pc:sldChg>
      <pc:sldChg chg="modSp new del">
        <pc:chgData name="Guest User" userId="S::urn:spo:anon#5c1cd7b39cb30a75ca1cea0fb2ba435992d6c6a6b484349a9ca7505025227c67::" providerId="AD" clId="Web-{C50870E9-6EF1-03AB-CB1D-15364C36965A}" dt="2022-05-24T10:24:44.132" v="1126"/>
        <pc:sldMkLst>
          <pc:docMk/>
          <pc:sldMk cId="3348619241" sldId="313"/>
        </pc:sldMkLst>
        <pc:spChg chg="mod">
          <ac:chgData name="Guest User" userId="S::urn:spo:anon#5c1cd7b39cb30a75ca1cea0fb2ba435992d6c6a6b484349a9ca7505025227c67::" providerId="AD" clId="Web-{C50870E9-6EF1-03AB-CB1D-15364C36965A}" dt="2022-05-24T09:19:00.881" v="313" actId="20577"/>
          <ac:spMkLst>
            <pc:docMk/>
            <pc:sldMk cId="3348619241" sldId="313"/>
            <ac:spMk id="2" creationId="{E4108760-61B1-6D83-B896-D35F6178FD51}"/>
          </ac:spMkLst>
        </pc:spChg>
        <pc:spChg chg="mod">
          <ac:chgData name="Guest User" userId="S::urn:spo:anon#5c1cd7b39cb30a75ca1cea0fb2ba435992d6c6a6b484349a9ca7505025227c67::" providerId="AD" clId="Web-{C50870E9-6EF1-03AB-CB1D-15364C36965A}" dt="2022-05-24T09:19:30.366" v="316" actId="1076"/>
          <ac:spMkLst>
            <pc:docMk/>
            <pc:sldMk cId="3348619241" sldId="313"/>
            <ac:spMk id="3" creationId="{34BFEDE4-5593-47D9-B158-541BB964D8C6}"/>
          </ac:spMkLst>
        </pc:spChg>
      </pc:sldChg>
      <pc:sldChg chg="modSp new del">
        <pc:chgData name="Guest User" userId="S::urn:spo:anon#5c1cd7b39cb30a75ca1cea0fb2ba435992d6c6a6b484349a9ca7505025227c67::" providerId="AD" clId="Web-{C50870E9-6EF1-03AB-CB1D-15364C36965A}" dt="2022-05-24T09:32:44.507" v="422"/>
        <pc:sldMkLst>
          <pc:docMk/>
          <pc:sldMk cId="77986337" sldId="314"/>
        </pc:sldMkLst>
        <pc:spChg chg="mod">
          <ac:chgData name="Guest User" userId="S::urn:spo:anon#5c1cd7b39cb30a75ca1cea0fb2ba435992d6c6a6b484349a9ca7505025227c67::" providerId="AD" clId="Web-{C50870E9-6EF1-03AB-CB1D-15364C36965A}" dt="2022-05-24T09:31:30.084" v="392" actId="20577"/>
          <ac:spMkLst>
            <pc:docMk/>
            <pc:sldMk cId="77986337" sldId="314"/>
            <ac:spMk id="2" creationId="{A63E54EA-3B7C-BFF5-3DBB-ECD08FA2D1BD}"/>
          </ac:spMkLst>
        </pc:spChg>
        <pc:spChg chg="mod">
          <ac:chgData name="Guest User" userId="S::urn:spo:anon#5c1cd7b39cb30a75ca1cea0fb2ba435992d6c6a6b484349a9ca7505025227c67::" providerId="AD" clId="Web-{C50870E9-6EF1-03AB-CB1D-15364C36965A}" dt="2022-05-24T09:32:43.710" v="421" actId="20577"/>
          <ac:spMkLst>
            <pc:docMk/>
            <pc:sldMk cId="77986337" sldId="314"/>
            <ac:spMk id="3" creationId="{F412A8B4-D828-31DB-7776-36936F75A714}"/>
          </ac:spMkLst>
        </pc:spChg>
      </pc:sldChg>
      <pc:sldChg chg="addSp modSp new ord modNotes">
        <pc:chgData name="Guest User" userId="S::urn:spo:anon#5c1cd7b39cb30a75ca1cea0fb2ba435992d6c6a6b484349a9ca7505025227c67::" providerId="AD" clId="Web-{C50870E9-6EF1-03AB-CB1D-15364C36965A}" dt="2022-05-24T13:01:55.839" v="1595" actId="20577"/>
        <pc:sldMkLst>
          <pc:docMk/>
          <pc:sldMk cId="4248556420" sldId="314"/>
        </pc:sldMkLst>
        <pc:spChg chg="mod">
          <ac:chgData name="Guest User" userId="S::urn:spo:anon#5c1cd7b39cb30a75ca1cea0fb2ba435992d6c6a6b484349a9ca7505025227c67::" providerId="AD" clId="Web-{C50870E9-6EF1-03AB-CB1D-15364C36965A}" dt="2022-05-24T09:52:45.438" v="711" actId="20577"/>
          <ac:spMkLst>
            <pc:docMk/>
            <pc:sldMk cId="4248556420" sldId="314"/>
            <ac:spMk id="2" creationId="{7CBC127A-4017-88C6-42DC-76D9E11DCCA8}"/>
          </ac:spMkLst>
        </pc:spChg>
        <pc:spChg chg="mod">
          <ac:chgData name="Guest User" userId="S::urn:spo:anon#5c1cd7b39cb30a75ca1cea0fb2ba435992d6c6a6b484349a9ca7505025227c67::" providerId="AD" clId="Web-{C50870E9-6EF1-03AB-CB1D-15364C36965A}" dt="2022-05-24T13:01:55.839" v="1595" actId="20577"/>
          <ac:spMkLst>
            <pc:docMk/>
            <pc:sldMk cId="4248556420" sldId="314"/>
            <ac:spMk id="3" creationId="{96959814-9071-EAE4-F7AC-76E25031DC00}"/>
          </ac:spMkLst>
        </pc:spChg>
        <pc:spChg chg="add mod">
          <ac:chgData name="Guest User" userId="S::urn:spo:anon#5c1cd7b39cb30a75ca1cea0fb2ba435992d6c6a6b484349a9ca7505025227c67::" providerId="AD" clId="Web-{C50870E9-6EF1-03AB-CB1D-15364C36965A}" dt="2022-05-24T10:19:48.720" v="1005"/>
          <ac:spMkLst>
            <pc:docMk/>
            <pc:sldMk cId="4248556420" sldId="314"/>
            <ac:spMk id="4" creationId="{70457893-B388-CA53-3E6E-105567370A9A}"/>
          </ac:spMkLst>
        </pc:spChg>
      </pc:sldChg>
      <pc:sldChg chg="modSp new">
        <pc:chgData name="Guest User" userId="S::urn:spo:anon#5c1cd7b39cb30a75ca1cea0fb2ba435992d6c6a6b484349a9ca7505025227c67::" providerId="AD" clId="Web-{C50870E9-6EF1-03AB-CB1D-15364C36965A}" dt="2022-05-24T10:56:59.421" v="1169" actId="14100"/>
        <pc:sldMkLst>
          <pc:docMk/>
          <pc:sldMk cId="1627569597" sldId="315"/>
        </pc:sldMkLst>
        <pc:spChg chg="mod">
          <ac:chgData name="Guest User" userId="S::urn:spo:anon#5c1cd7b39cb30a75ca1cea0fb2ba435992d6c6a6b484349a9ca7505025227c67::" providerId="AD" clId="Web-{C50870E9-6EF1-03AB-CB1D-15364C36965A}" dt="2022-05-24T10:02:20.465" v="794" actId="20577"/>
          <ac:spMkLst>
            <pc:docMk/>
            <pc:sldMk cId="1627569597" sldId="315"/>
            <ac:spMk id="2" creationId="{022ACFA0-76C8-1EA8-54EC-42708D9B9177}"/>
          </ac:spMkLst>
        </pc:spChg>
        <pc:spChg chg="mod">
          <ac:chgData name="Guest User" userId="S::urn:spo:anon#5c1cd7b39cb30a75ca1cea0fb2ba435992d6c6a6b484349a9ca7505025227c67::" providerId="AD" clId="Web-{C50870E9-6EF1-03AB-CB1D-15364C36965A}" dt="2022-05-24T10:56:59.421" v="1169" actId="14100"/>
          <ac:spMkLst>
            <pc:docMk/>
            <pc:sldMk cId="1627569597" sldId="315"/>
            <ac:spMk id="3" creationId="{78101E67-B0F1-726C-7F13-95384EA7B94E}"/>
          </ac:spMkLst>
        </pc:spChg>
      </pc:sldChg>
      <pc:sldChg chg="addSp modSp new">
        <pc:chgData name="Guest User" userId="S::urn:spo:anon#5c1cd7b39cb30a75ca1cea0fb2ba435992d6c6a6b484349a9ca7505025227c67::" providerId="AD" clId="Web-{C50870E9-6EF1-03AB-CB1D-15364C36965A}" dt="2022-05-24T11:32:48.026" v="1461" actId="20577"/>
        <pc:sldMkLst>
          <pc:docMk/>
          <pc:sldMk cId="813545271" sldId="316"/>
        </pc:sldMkLst>
        <pc:spChg chg="mod">
          <ac:chgData name="Guest User" userId="S::urn:spo:anon#5c1cd7b39cb30a75ca1cea0fb2ba435992d6c6a6b484349a9ca7505025227c67::" providerId="AD" clId="Web-{C50870E9-6EF1-03AB-CB1D-15364C36965A}" dt="2022-05-24T11:08:36.106" v="1206" actId="20577"/>
          <ac:spMkLst>
            <pc:docMk/>
            <pc:sldMk cId="813545271" sldId="316"/>
            <ac:spMk id="2" creationId="{95830DEE-4768-83D0-54D4-7D19C584700B}"/>
          </ac:spMkLst>
        </pc:spChg>
        <pc:spChg chg="mod">
          <ac:chgData name="Guest User" userId="S::urn:spo:anon#5c1cd7b39cb30a75ca1cea0fb2ba435992d6c6a6b484349a9ca7505025227c67::" providerId="AD" clId="Web-{C50870E9-6EF1-03AB-CB1D-15364C36965A}" dt="2022-05-24T11:26:20.159" v="1391" actId="20577"/>
          <ac:spMkLst>
            <pc:docMk/>
            <pc:sldMk cId="813545271" sldId="316"/>
            <ac:spMk id="3" creationId="{88C80544-D972-5414-9AD8-744769A39182}"/>
          </ac:spMkLst>
        </pc:spChg>
        <pc:spChg chg="add mod">
          <ac:chgData name="Guest User" userId="S::urn:spo:anon#5c1cd7b39cb30a75ca1cea0fb2ba435992d6c6a6b484349a9ca7505025227c67::" providerId="AD" clId="Web-{C50870E9-6EF1-03AB-CB1D-15364C36965A}" dt="2022-05-24T11:32:48.026" v="1461" actId="20577"/>
          <ac:spMkLst>
            <pc:docMk/>
            <pc:sldMk cId="813545271" sldId="316"/>
            <ac:spMk id="4" creationId="{B951880E-2548-03FC-30F1-559F3B67733E}"/>
          </ac:spMkLst>
        </pc:spChg>
      </pc:sldChg>
      <pc:sldChg chg="modSp new">
        <pc:chgData name="Guest User" userId="S::urn:spo:anon#5c1cd7b39cb30a75ca1cea0fb2ba435992d6c6a6b484349a9ca7505025227c67::" providerId="AD" clId="Web-{C50870E9-6EF1-03AB-CB1D-15364C36965A}" dt="2022-05-24T11:47:07.699" v="1551" actId="20577"/>
        <pc:sldMkLst>
          <pc:docMk/>
          <pc:sldMk cId="1986818962" sldId="317"/>
        </pc:sldMkLst>
        <pc:spChg chg="mod">
          <ac:chgData name="Guest User" userId="S::urn:spo:anon#5c1cd7b39cb30a75ca1cea0fb2ba435992d6c6a6b484349a9ca7505025227c67::" providerId="AD" clId="Web-{C50870E9-6EF1-03AB-CB1D-15364C36965A}" dt="2022-05-24T11:34:39.622" v="1482" actId="20577"/>
          <ac:spMkLst>
            <pc:docMk/>
            <pc:sldMk cId="1986818962" sldId="317"/>
            <ac:spMk id="2" creationId="{0087FBAB-EC07-CF2D-1C34-B286203D1DEB}"/>
          </ac:spMkLst>
        </pc:spChg>
        <pc:spChg chg="mod">
          <ac:chgData name="Guest User" userId="S::urn:spo:anon#5c1cd7b39cb30a75ca1cea0fb2ba435992d6c6a6b484349a9ca7505025227c67::" providerId="AD" clId="Web-{C50870E9-6EF1-03AB-CB1D-15364C36965A}" dt="2022-05-24T11:47:07.699" v="1551" actId="20577"/>
          <ac:spMkLst>
            <pc:docMk/>
            <pc:sldMk cId="1986818962" sldId="317"/>
            <ac:spMk id="3" creationId="{F542AE94-456A-179B-63E4-5401D70ED4F9}"/>
          </ac:spMkLst>
        </pc:spChg>
      </pc:sldChg>
    </pc:docChg>
  </pc:docChgLst>
  <pc:docChgLst>
    <pc:chgData name="Frances Meek" userId="f3af35cc-3229-46e1-af36-3525661cfbd3" providerId="ADAL" clId="{93C35C96-86B8-40D4-B80D-DC17D7741F7F}"/>
    <pc:docChg chg="custSel modSld">
      <pc:chgData name="Frances Meek" userId="f3af35cc-3229-46e1-af36-3525661cfbd3" providerId="ADAL" clId="{93C35C96-86B8-40D4-B80D-DC17D7741F7F}" dt="2022-11-29T11:22:49.699" v="247" actId="255"/>
      <pc:docMkLst>
        <pc:docMk/>
      </pc:docMkLst>
      <pc:sldChg chg="addSp modSp">
        <pc:chgData name="Frances Meek" userId="f3af35cc-3229-46e1-af36-3525661cfbd3" providerId="ADAL" clId="{93C35C96-86B8-40D4-B80D-DC17D7741F7F}" dt="2022-11-29T11:11:01.645" v="0"/>
        <pc:sldMkLst>
          <pc:docMk/>
          <pc:sldMk cId="2302005153" sldId="261"/>
        </pc:sldMkLst>
        <pc:spChg chg="add mod">
          <ac:chgData name="Frances Meek" userId="f3af35cc-3229-46e1-af36-3525661cfbd3" providerId="ADAL" clId="{93C35C96-86B8-40D4-B80D-DC17D7741F7F}" dt="2022-11-29T11:11:01.645" v="0"/>
          <ac:spMkLst>
            <pc:docMk/>
            <pc:sldMk cId="2302005153" sldId="261"/>
            <ac:spMk id="6" creationId="{A8D9ECF5-A3E7-E856-40D1-C9168A126599}"/>
          </ac:spMkLst>
        </pc:spChg>
      </pc:sldChg>
      <pc:sldChg chg="modSp mod">
        <pc:chgData name="Frances Meek" userId="f3af35cc-3229-46e1-af36-3525661cfbd3" providerId="ADAL" clId="{93C35C96-86B8-40D4-B80D-DC17D7741F7F}" dt="2022-11-29T11:14:22.002" v="36" actId="20577"/>
        <pc:sldMkLst>
          <pc:docMk/>
          <pc:sldMk cId="2943824031" sldId="266"/>
        </pc:sldMkLst>
        <pc:spChg chg="mod">
          <ac:chgData name="Frances Meek" userId="f3af35cc-3229-46e1-af36-3525661cfbd3" providerId="ADAL" clId="{93C35C96-86B8-40D4-B80D-DC17D7741F7F}" dt="2022-11-29T11:14:22.002" v="36" actId="20577"/>
          <ac:spMkLst>
            <pc:docMk/>
            <pc:sldMk cId="2943824031" sldId="266"/>
            <ac:spMk id="3" creationId="{00000000-0000-0000-0000-000000000000}"/>
          </ac:spMkLst>
        </pc:spChg>
      </pc:sldChg>
      <pc:sldChg chg="modSp mod">
        <pc:chgData name="Frances Meek" userId="f3af35cc-3229-46e1-af36-3525661cfbd3" providerId="ADAL" clId="{93C35C96-86B8-40D4-B80D-DC17D7741F7F}" dt="2022-11-29T11:21:56.228" v="244" actId="20577"/>
        <pc:sldMkLst>
          <pc:docMk/>
          <pc:sldMk cId="38449936" sldId="268"/>
        </pc:sldMkLst>
        <pc:spChg chg="mod">
          <ac:chgData name="Frances Meek" userId="f3af35cc-3229-46e1-af36-3525661cfbd3" providerId="ADAL" clId="{93C35C96-86B8-40D4-B80D-DC17D7741F7F}" dt="2022-11-29T11:21:56.228" v="244" actId="20577"/>
          <ac:spMkLst>
            <pc:docMk/>
            <pc:sldMk cId="38449936" sldId="268"/>
            <ac:spMk id="3" creationId="{00000000-0000-0000-0000-000000000000}"/>
          </ac:spMkLst>
        </pc:spChg>
      </pc:sldChg>
      <pc:sldChg chg="modSp mod">
        <pc:chgData name="Frances Meek" userId="f3af35cc-3229-46e1-af36-3525661cfbd3" providerId="ADAL" clId="{93C35C96-86B8-40D4-B80D-DC17D7741F7F}" dt="2022-11-29T11:22:49.699" v="247" actId="255"/>
        <pc:sldMkLst>
          <pc:docMk/>
          <pc:sldMk cId="3282227446" sldId="352"/>
        </pc:sldMkLst>
        <pc:spChg chg="mod">
          <ac:chgData name="Frances Meek" userId="f3af35cc-3229-46e1-af36-3525661cfbd3" providerId="ADAL" clId="{93C35C96-86B8-40D4-B80D-DC17D7741F7F}" dt="2022-11-29T11:22:49.699" v="247" actId="255"/>
          <ac:spMkLst>
            <pc:docMk/>
            <pc:sldMk cId="3282227446" sldId="352"/>
            <ac:spMk id="4" creationId="{00000000-0000-0000-0000-000000000000}"/>
          </ac:spMkLst>
        </pc:spChg>
      </pc:sldChg>
      <pc:sldChg chg="modSp mod">
        <pc:chgData name="Frances Meek" userId="f3af35cc-3229-46e1-af36-3525661cfbd3" providerId="ADAL" clId="{93C35C96-86B8-40D4-B80D-DC17D7741F7F}" dt="2022-11-29T11:17:09.146" v="179" actId="20577"/>
        <pc:sldMkLst>
          <pc:docMk/>
          <pc:sldMk cId="3676888672" sldId="354"/>
        </pc:sldMkLst>
        <pc:spChg chg="mod">
          <ac:chgData name="Frances Meek" userId="f3af35cc-3229-46e1-af36-3525661cfbd3" providerId="ADAL" clId="{93C35C96-86B8-40D4-B80D-DC17D7741F7F}" dt="2022-11-29T11:17:09.146" v="179" actId="20577"/>
          <ac:spMkLst>
            <pc:docMk/>
            <pc:sldMk cId="3676888672" sldId="354"/>
            <ac:spMk id="4" creationId="{B3D9D166-8F1D-39CD-D4E0-A3292451464C}"/>
          </ac:spMkLst>
        </pc:spChg>
      </pc:sldChg>
      <pc:sldChg chg="modSp mod">
        <pc:chgData name="Frances Meek" userId="f3af35cc-3229-46e1-af36-3525661cfbd3" providerId="ADAL" clId="{93C35C96-86B8-40D4-B80D-DC17D7741F7F}" dt="2022-11-29T11:15:42.831" v="100" actId="20577"/>
        <pc:sldMkLst>
          <pc:docMk/>
          <pc:sldMk cId="3661736678" sldId="356"/>
        </pc:sldMkLst>
        <pc:spChg chg="mod">
          <ac:chgData name="Frances Meek" userId="f3af35cc-3229-46e1-af36-3525661cfbd3" providerId="ADAL" clId="{93C35C96-86B8-40D4-B80D-DC17D7741F7F}" dt="2022-11-29T11:15:42.831" v="100" actId="20577"/>
          <ac:spMkLst>
            <pc:docMk/>
            <pc:sldMk cId="3661736678" sldId="356"/>
            <ac:spMk id="3" creationId="{871FADD7-5CFD-68C9-851C-B6F4AD15AF0A}"/>
          </ac:spMkLst>
        </pc:spChg>
      </pc:sldChg>
      <pc:sldChg chg="modSp mod">
        <pc:chgData name="Frances Meek" userId="f3af35cc-3229-46e1-af36-3525661cfbd3" providerId="ADAL" clId="{93C35C96-86B8-40D4-B80D-DC17D7741F7F}" dt="2022-11-29T11:13:34.765" v="14" actId="20577"/>
        <pc:sldMkLst>
          <pc:docMk/>
          <pc:sldMk cId="3186897737" sldId="358"/>
        </pc:sldMkLst>
        <pc:spChg chg="mod">
          <ac:chgData name="Frances Meek" userId="f3af35cc-3229-46e1-af36-3525661cfbd3" providerId="ADAL" clId="{93C35C96-86B8-40D4-B80D-DC17D7741F7F}" dt="2022-11-29T11:13:34.765" v="14" actId="20577"/>
          <ac:spMkLst>
            <pc:docMk/>
            <pc:sldMk cId="3186897737" sldId="358"/>
            <ac:spMk id="3" creationId="{00000000-0000-0000-0000-000000000000}"/>
          </ac:spMkLst>
        </pc:spChg>
      </pc:sldChg>
      <pc:sldChg chg="modSp mod">
        <pc:chgData name="Frances Meek" userId="f3af35cc-3229-46e1-af36-3525661cfbd3" providerId="ADAL" clId="{93C35C96-86B8-40D4-B80D-DC17D7741F7F}" dt="2022-11-29T11:13:09.726" v="4" actId="20577"/>
        <pc:sldMkLst>
          <pc:docMk/>
          <pc:sldMk cId="4284292010" sldId="363"/>
        </pc:sldMkLst>
        <pc:spChg chg="mod">
          <ac:chgData name="Frances Meek" userId="f3af35cc-3229-46e1-af36-3525661cfbd3" providerId="ADAL" clId="{93C35C96-86B8-40D4-B80D-DC17D7741F7F}" dt="2022-11-29T11:13:09.726" v="4" actId="20577"/>
          <ac:spMkLst>
            <pc:docMk/>
            <pc:sldMk cId="4284292010" sldId="363"/>
            <ac:spMk id="3" creationId="{00000000-0000-0000-0000-000000000000}"/>
          </ac:spMkLst>
        </pc:spChg>
      </pc:sldChg>
      <pc:sldChg chg="modSp mod">
        <pc:chgData name="Frances Meek" userId="f3af35cc-3229-46e1-af36-3525661cfbd3" providerId="ADAL" clId="{93C35C96-86B8-40D4-B80D-DC17D7741F7F}" dt="2022-11-29T11:16:10.302" v="131" actId="20577"/>
        <pc:sldMkLst>
          <pc:docMk/>
          <pc:sldMk cId="2815125932" sldId="364"/>
        </pc:sldMkLst>
        <pc:spChg chg="mod">
          <ac:chgData name="Frances Meek" userId="f3af35cc-3229-46e1-af36-3525661cfbd3" providerId="ADAL" clId="{93C35C96-86B8-40D4-B80D-DC17D7741F7F}" dt="2022-11-29T11:16:10.302" v="131" actId="20577"/>
          <ac:spMkLst>
            <pc:docMk/>
            <pc:sldMk cId="2815125932" sldId="364"/>
            <ac:spMk id="3" creationId="{871FADD7-5CFD-68C9-851C-B6F4AD15AF0A}"/>
          </ac:spMkLst>
        </pc:spChg>
      </pc:sldChg>
      <pc:sldChg chg="modSp mod">
        <pc:chgData name="Frances Meek" userId="f3af35cc-3229-46e1-af36-3525661cfbd3" providerId="ADAL" clId="{93C35C96-86B8-40D4-B80D-DC17D7741F7F}" dt="2022-11-29T11:19:58.442" v="232"/>
        <pc:sldMkLst>
          <pc:docMk/>
          <pc:sldMk cId="149818976" sldId="381"/>
        </pc:sldMkLst>
        <pc:spChg chg="mod">
          <ac:chgData name="Frances Meek" userId="f3af35cc-3229-46e1-af36-3525661cfbd3" providerId="ADAL" clId="{93C35C96-86B8-40D4-B80D-DC17D7741F7F}" dt="2022-11-29T11:19:58.442" v="232"/>
          <ac:spMkLst>
            <pc:docMk/>
            <pc:sldMk cId="149818976" sldId="381"/>
            <ac:spMk id="3" creationId="{00000000-0000-0000-0000-000000000000}"/>
          </ac:spMkLst>
        </pc:spChg>
      </pc:sldChg>
    </pc:docChg>
  </pc:docChgLst>
  <pc:docChgLst>
    <pc:chgData name="Ewen Trafford" userId="e520b4bf-a196-48b7-bc10-b1590a457daa" providerId="ADAL" clId="{050F2901-02EA-4CCD-80E9-59020FB821DE}"/>
    <pc:docChg chg="undo custSel addSld modSld">
      <pc:chgData name="Ewen Trafford" userId="e520b4bf-a196-48b7-bc10-b1590a457daa" providerId="ADAL" clId="{050F2901-02EA-4CCD-80E9-59020FB821DE}" dt="2022-06-01T15:16:59.847" v="1789" actId="20577"/>
      <pc:docMkLst>
        <pc:docMk/>
      </pc:docMkLst>
      <pc:sldChg chg="modSp mod delCm modCm">
        <pc:chgData name="Ewen Trafford" userId="e520b4bf-a196-48b7-bc10-b1590a457daa" providerId="ADAL" clId="{050F2901-02EA-4CCD-80E9-59020FB821DE}" dt="2022-05-31T12:44:02.862" v="175"/>
        <pc:sldMkLst>
          <pc:docMk/>
          <pc:sldMk cId="3993973292" sldId="274"/>
        </pc:sldMkLst>
        <pc:spChg chg="mod">
          <ac:chgData name="Ewen Trafford" userId="e520b4bf-a196-48b7-bc10-b1590a457daa" providerId="ADAL" clId="{050F2901-02EA-4CCD-80E9-59020FB821DE}" dt="2022-05-31T12:43:59.654" v="174" actId="20577"/>
          <ac:spMkLst>
            <pc:docMk/>
            <pc:sldMk cId="3993973292" sldId="274"/>
            <ac:spMk id="3" creationId="{00000000-0000-0000-0000-000000000000}"/>
          </ac:spMkLst>
        </pc:spChg>
      </pc:sldChg>
      <pc:sldChg chg="addSp modSp mod">
        <pc:chgData name="Ewen Trafford" userId="e520b4bf-a196-48b7-bc10-b1590a457daa" providerId="ADAL" clId="{050F2901-02EA-4CCD-80E9-59020FB821DE}" dt="2022-06-01T13:16:59.655" v="671" actId="13926"/>
        <pc:sldMkLst>
          <pc:docMk/>
          <pc:sldMk cId="3137792006" sldId="277"/>
        </pc:sldMkLst>
        <pc:spChg chg="mod">
          <ac:chgData name="Ewen Trafford" userId="e520b4bf-a196-48b7-bc10-b1590a457daa" providerId="ADAL" clId="{050F2901-02EA-4CCD-80E9-59020FB821DE}" dt="2022-06-01T13:16:45.434" v="668" actId="20577"/>
          <ac:spMkLst>
            <pc:docMk/>
            <pc:sldMk cId="3137792006" sldId="277"/>
            <ac:spMk id="3" creationId="{00000000-0000-0000-0000-000000000000}"/>
          </ac:spMkLst>
        </pc:spChg>
        <pc:spChg chg="add mod">
          <ac:chgData name="Ewen Trafford" userId="e520b4bf-a196-48b7-bc10-b1590a457daa" providerId="ADAL" clId="{050F2901-02EA-4CCD-80E9-59020FB821DE}" dt="2022-06-01T13:16:59.655" v="671" actId="13926"/>
          <ac:spMkLst>
            <pc:docMk/>
            <pc:sldMk cId="3137792006" sldId="277"/>
            <ac:spMk id="7" creationId="{1B259F73-E87B-42C3-9AC3-9D81F3D3C48B}"/>
          </ac:spMkLst>
        </pc:spChg>
      </pc:sldChg>
      <pc:sldChg chg="addSp delSp modSp mod delCm">
        <pc:chgData name="Ewen Trafford" userId="e520b4bf-a196-48b7-bc10-b1590a457daa" providerId="ADAL" clId="{050F2901-02EA-4CCD-80E9-59020FB821DE}" dt="2022-05-31T12:41:16.765" v="15" actId="27614"/>
        <pc:sldMkLst>
          <pc:docMk/>
          <pc:sldMk cId="1351839580" sldId="294"/>
        </pc:sldMkLst>
        <pc:spChg chg="del">
          <ac:chgData name="Ewen Trafford" userId="e520b4bf-a196-48b7-bc10-b1590a457daa" providerId="ADAL" clId="{050F2901-02EA-4CCD-80E9-59020FB821DE}" dt="2022-05-31T12:41:03.064" v="11" actId="478"/>
          <ac:spMkLst>
            <pc:docMk/>
            <pc:sldMk cId="1351839580" sldId="294"/>
            <ac:spMk id="3" creationId="{CDDA6D2C-3FB8-7389-0564-F3A1F0EE7142}"/>
          </ac:spMkLst>
        </pc:spChg>
        <pc:picChg chg="add mod">
          <ac:chgData name="Ewen Trafford" userId="e520b4bf-a196-48b7-bc10-b1590a457daa" providerId="ADAL" clId="{050F2901-02EA-4CCD-80E9-59020FB821DE}" dt="2022-05-31T12:41:16.765" v="15" actId="27614"/>
          <ac:picMkLst>
            <pc:docMk/>
            <pc:sldMk cId="1351839580" sldId="294"/>
            <ac:picMk id="5" creationId="{09B8F994-D624-43CB-958F-E7CBDB4F4311}"/>
          </ac:picMkLst>
        </pc:picChg>
      </pc:sldChg>
      <pc:sldChg chg="modSp mod">
        <pc:chgData name="Ewen Trafford" userId="e520b4bf-a196-48b7-bc10-b1590a457daa" providerId="ADAL" clId="{050F2901-02EA-4CCD-80E9-59020FB821DE}" dt="2022-06-01T13:11:16.464" v="660" actId="1076"/>
        <pc:sldMkLst>
          <pc:docMk/>
          <pc:sldMk cId="1245899220" sldId="305"/>
        </pc:sldMkLst>
        <pc:picChg chg="mod">
          <ac:chgData name="Ewen Trafford" userId="e520b4bf-a196-48b7-bc10-b1590a457daa" providerId="ADAL" clId="{050F2901-02EA-4CCD-80E9-59020FB821DE}" dt="2022-06-01T13:11:16.464" v="660" actId="1076"/>
          <ac:picMkLst>
            <pc:docMk/>
            <pc:sldMk cId="1245899220" sldId="305"/>
            <ac:picMk id="9" creationId="{6B2C2443-1A77-46BF-B2F8-964EF726DF1E}"/>
          </ac:picMkLst>
        </pc:picChg>
      </pc:sldChg>
      <pc:sldChg chg="modSp mod">
        <pc:chgData name="Ewen Trafford" userId="e520b4bf-a196-48b7-bc10-b1590a457daa" providerId="ADAL" clId="{050F2901-02EA-4CCD-80E9-59020FB821DE}" dt="2022-05-31T12:42:20.566" v="167" actId="20577"/>
        <pc:sldMkLst>
          <pc:docMk/>
          <pc:sldMk cId="639185947" sldId="307"/>
        </pc:sldMkLst>
        <pc:spChg chg="mod">
          <ac:chgData name="Ewen Trafford" userId="e520b4bf-a196-48b7-bc10-b1590a457daa" providerId="ADAL" clId="{050F2901-02EA-4CCD-80E9-59020FB821DE}" dt="2022-05-31T12:42:20.566" v="167" actId="20577"/>
          <ac:spMkLst>
            <pc:docMk/>
            <pc:sldMk cId="639185947" sldId="307"/>
            <ac:spMk id="4" creationId="{DDDB30AC-431A-410C-94CB-E2E50716CA4B}"/>
          </ac:spMkLst>
        </pc:spChg>
      </pc:sldChg>
      <pc:sldChg chg="addSp delSp modSp mod delCm">
        <pc:chgData name="Ewen Trafford" userId="e520b4bf-a196-48b7-bc10-b1590a457daa" providerId="ADAL" clId="{050F2901-02EA-4CCD-80E9-59020FB821DE}" dt="2022-06-01T15:16:59.847" v="1789" actId="20577"/>
        <pc:sldMkLst>
          <pc:docMk/>
          <pc:sldMk cId="3979226011" sldId="308"/>
        </pc:sldMkLst>
        <pc:spChg chg="add mod">
          <ac:chgData name="Ewen Trafford" userId="e520b4bf-a196-48b7-bc10-b1590a457daa" providerId="ADAL" clId="{050F2901-02EA-4CCD-80E9-59020FB821DE}" dt="2022-06-01T15:15:21.589" v="1693" actId="1076"/>
          <ac:spMkLst>
            <pc:docMk/>
            <pc:sldMk cId="3979226011" sldId="308"/>
            <ac:spMk id="3" creationId="{FD97BFF1-3DDE-4420-9C57-A6A8B8D54BFD}"/>
          </ac:spMkLst>
        </pc:spChg>
        <pc:spChg chg="add mod">
          <ac:chgData name="Ewen Trafford" userId="e520b4bf-a196-48b7-bc10-b1590a457daa" providerId="ADAL" clId="{050F2901-02EA-4CCD-80E9-59020FB821DE}" dt="2022-06-01T15:15:39.980" v="1722" actId="14100"/>
          <ac:spMkLst>
            <pc:docMk/>
            <pc:sldMk cId="3979226011" sldId="308"/>
            <ac:spMk id="14" creationId="{22F26E73-EC43-4EFA-B9A0-C0898DD0364F}"/>
          </ac:spMkLst>
        </pc:spChg>
        <pc:spChg chg="add mod">
          <ac:chgData name="Ewen Trafford" userId="e520b4bf-a196-48b7-bc10-b1590a457daa" providerId="ADAL" clId="{050F2901-02EA-4CCD-80E9-59020FB821DE}" dt="2022-06-01T15:16:10.440" v="1750" actId="1076"/>
          <ac:spMkLst>
            <pc:docMk/>
            <pc:sldMk cId="3979226011" sldId="308"/>
            <ac:spMk id="15" creationId="{35AD8946-B44D-4839-A63C-03F79AF49D71}"/>
          </ac:spMkLst>
        </pc:spChg>
        <pc:spChg chg="add mod">
          <ac:chgData name="Ewen Trafford" userId="e520b4bf-a196-48b7-bc10-b1590a457daa" providerId="ADAL" clId="{050F2901-02EA-4CCD-80E9-59020FB821DE}" dt="2022-06-01T15:16:42.960" v="1769" actId="1076"/>
          <ac:spMkLst>
            <pc:docMk/>
            <pc:sldMk cId="3979226011" sldId="308"/>
            <ac:spMk id="16" creationId="{2F92A811-6F88-4679-89D8-62EDDBB9C872}"/>
          </ac:spMkLst>
        </pc:spChg>
        <pc:spChg chg="add mod">
          <ac:chgData name="Ewen Trafford" userId="e520b4bf-a196-48b7-bc10-b1590a457daa" providerId="ADAL" clId="{050F2901-02EA-4CCD-80E9-59020FB821DE}" dt="2022-06-01T15:16:50.769" v="1781" actId="20577"/>
          <ac:spMkLst>
            <pc:docMk/>
            <pc:sldMk cId="3979226011" sldId="308"/>
            <ac:spMk id="18" creationId="{549336F6-2856-4921-9204-6C301AA57BD4}"/>
          </ac:spMkLst>
        </pc:spChg>
        <pc:spChg chg="add mod">
          <ac:chgData name="Ewen Trafford" userId="e520b4bf-a196-48b7-bc10-b1590a457daa" providerId="ADAL" clId="{050F2901-02EA-4CCD-80E9-59020FB821DE}" dt="2022-06-01T15:16:59.847" v="1789" actId="20577"/>
          <ac:spMkLst>
            <pc:docMk/>
            <pc:sldMk cId="3979226011" sldId="308"/>
            <ac:spMk id="19" creationId="{5E908355-4CED-4FAD-9980-4052418EE962}"/>
          </ac:spMkLst>
        </pc:spChg>
        <pc:picChg chg="mod">
          <ac:chgData name="Ewen Trafford" userId="e520b4bf-a196-48b7-bc10-b1590a457daa" providerId="ADAL" clId="{050F2901-02EA-4CCD-80E9-59020FB821DE}" dt="2022-06-01T15:16:19.281" v="1754" actId="1076"/>
          <ac:picMkLst>
            <pc:docMk/>
            <pc:sldMk cId="3979226011" sldId="308"/>
            <ac:picMk id="5" creationId="{9F319B15-F7C6-4A47-9199-60BCC6831A22}"/>
          </ac:picMkLst>
        </pc:picChg>
        <pc:picChg chg="add del">
          <ac:chgData name="Ewen Trafford" userId="e520b4bf-a196-48b7-bc10-b1590a457daa" providerId="ADAL" clId="{050F2901-02EA-4CCD-80E9-59020FB821DE}" dt="2022-06-01T15:13:45.545" v="1649" actId="478"/>
          <ac:picMkLst>
            <pc:docMk/>
            <pc:sldMk cId="3979226011" sldId="308"/>
            <ac:picMk id="6" creationId="{B003AB75-540C-419A-A73D-D842D8C487DD}"/>
          </ac:picMkLst>
        </pc:picChg>
        <pc:picChg chg="add mod ord">
          <ac:chgData name="Ewen Trafford" userId="e520b4bf-a196-48b7-bc10-b1590a457daa" providerId="ADAL" clId="{050F2901-02EA-4CCD-80E9-59020FB821DE}" dt="2022-06-01T15:16:39.009" v="1768" actId="1076"/>
          <ac:picMkLst>
            <pc:docMk/>
            <pc:sldMk cId="3979226011" sldId="308"/>
            <ac:picMk id="8" creationId="{17048F22-2837-4579-85F3-124B471098F8}"/>
          </ac:picMkLst>
        </pc:picChg>
        <pc:picChg chg="mod">
          <ac:chgData name="Ewen Trafford" userId="e520b4bf-a196-48b7-bc10-b1590a457daa" providerId="ADAL" clId="{050F2901-02EA-4CCD-80E9-59020FB821DE}" dt="2022-06-01T15:15:44.129" v="1723" actId="1076"/>
          <ac:picMkLst>
            <pc:docMk/>
            <pc:sldMk cId="3979226011" sldId="308"/>
            <ac:picMk id="9" creationId="{4D8FF41C-D09E-454C-ADD3-C636F509A25D}"/>
          </ac:picMkLst>
        </pc:picChg>
        <pc:picChg chg="mod">
          <ac:chgData name="Ewen Trafford" userId="e520b4bf-a196-48b7-bc10-b1590a457daa" providerId="ADAL" clId="{050F2901-02EA-4CCD-80E9-59020FB821DE}" dt="2022-06-01T15:15:48.629" v="1725" actId="1076"/>
          <ac:picMkLst>
            <pc:docMk/>
            <pc:sldMk cId="3979226011" sldId="308"/>
            <ac:picMk id="10" creationId="{8E0243E2-491B-B364-6B2B-E7DE675C15CB}"/>
          </ac:picMkLst>
        </pc:picChg>
        <pc:picChg chg="mod">
          <ac:chgData name="Ewen Trafford" userId="e520b4bf-a196-48b7-bc10-b1590a457daa" providerId="ADAL" clId="{050F2901-02EA-4CCD-80E9-59020FB821DE}" dt="2022-06-01T15:14:27.969" v="1664" actId="1076"/>
          <ac:picMkLst>
            <pc:docMk/>
            <pc:sldMk cId="3979226011" sldId="308"/>
            <ac:picMk id="11" creationId="{AE9A2AA5-8E19-40AB-ABB4-6C69C4410945}"/>
          </ac:picMkLst>
        </pc:picChg>
        <pc:picChg chg="del">
          <ac:chgData name="Ewen Trafford" userId="e520b4bf-a196-48b7-bc10-b1590a457daa" providerId="ADAL" clId="{050F2901-02EA-4CCD-80E9-59020FB821DE}" dt="2022-05-31T12:38:03.381" v="0" actId="478"/>
          <ac:picMkLst>
            <pc:docMk/>
            <pc:sldMk cId="3979226011" sldId="308"/>
            <ac:picMk id="12" creationId="{66F4C863-84B1-C42A-380F-A3318D212C25}"/>
          </ac:picMkLst>
        </pc:picChg>
        <pc:picChg chg="mod ord">
          <ac:chgData name="Ewen Trafford" userId="e520b4bf-a196-48b7-bc10-b1590a457daa" providerId="ADAL" clId="{050F2901-02EA-4CCD-80E9-59020FB821DE}" dt="2022-06-01T15:16:16.470" v="1753" actId="1076"/>
          <ac:picMkLst>
            <pc:docMk/>
            <pc:sldMk cId="3979226011" sldId="308"/>
            <ac:picMk id="17" creationId="{33310B10-D808-729E-7E59-6863FE4D1EA7}"/>
          </ac:picMkLst>
        </pc:picChg>
      </pc:sldChg>
      <pc:sldChg chg="addSp delSp modSp mod delCm modCm">
        <pc:chgData name="Ewen Trafford" userId="e520b4bf-a196-48b7-bc10-b1590a457daa" providerId="ADAL" clId="{050F2901-02EA-4CCD-80E9-59020FB821DE}" dt="2022-05-31T12:43:45.419" v="173" actId="27614"/>
        <pc:sldMkLst>
          <pc:docMk/>
          <pc:sldMk cId="3837550476" sldId="309"/>
        </pc:sldMkLst>
        <pc:spChg chg="mod">
          <ac:chgData name="Ewen Trafford" userId="e520b4bf-a196-48b7-bc10-b1590a457daa" providerId="ADAL" clId="{050F2901-02EA-4CCD-80E9-59020FB821DE}" dt="2022-05-31T12:41:55.585" v="152" actId="20577"/>
          <ac:spMkLst>
            <pc:docMk/>
            <pc:sldMk cId="3837550476" sldId="309"/>
            <ac:spMk id="4" creationId="{C5AED35D-F009-4C6C-BE74-11E7A80DDC36}"/>
          </ac:spMkLst>
        </pc:spChg>
        <pc:picChg chg="del">
          <ac:chgData name="Ewen Trafford" userId="e520b4bf-a196-48b7-bc10-b1590a457daa" providerId="ADAL" clId="{050F2901-02EA-4CCD-80E9-59020FB821DE}" dt="2022-05-31T12:42:25.793" v="168" actId="478"/>
          <ac:picMkLst>
            <pc:docMk/>
            <pc:sldMk cId="3837550476" sldId="309"/>
            <ac:picMk id="5" creationId="{EECBBF6B-5CE0-4184-9994-17BC9E1F602B}"/>
          </ac:picMkLst>
        </pc:picChg>
        <pc:picChg chg="add mod">
          <ac:chgData name="Ewen Trafford" userId="e520b4bf-a196-48b7-bc10-b1590a457daa" providerId="ADAL" clId="{050F2901-02EA-4CCD-80E9-59020FB821DE}" dt="2022-05-31T12:43:45.419" v="173" actId="27614"/>
          <ac:picMkLst>
            <pc:docMk/>
            <pc:sldMk cId="3837550476" sldId="309"/>
            <ac:picMk id="6" creationId="{92133238-B981-4DD4-B039-A3F8A99403B6}"/>
          </ac:picMkLst>
        </pc:picChg>
      </pc:sldChg>
      <pc:sldChg chg="modSp mod">
        <pc:chgData name="Ewen Trafford" userId="e520b4bf-a196-48b7-bc10-b1590a457daa" providerId="ADAL" clId="{050F2901-02EA-4CCD-80E9-59020FB821DE}" dt="2022-06-01T14:47:52.554" v="748" actId="1076"/>
        <pc:sldMkLst>
          <pc:docMk/>
          <pc:sldMk cId="3209739012" sldId="310"/>
        </pc:sldMkLst>
        <pc:spChg chg="mod">
          <ac:chgData name="Ewen Trafford" userId="e520b4bf-a196-48b7-bc10-b1590a457daa" providerId="ADAL" clId="{050F2901-02EA-4CCD-80E9-59020FB821DE}" dt="2022-06-01T14:47:45.576" v="747" actId="122"/>
          <ac:spMkLst>
            <pc:docMk/>
            <pc:sldMk cId="3209739012" sldId="310"/>
            <ac:spMk id="3" creationId="{82E1E8C1-13C2-39F4-CCF1-E26E44E671DB}"/>
          </ac:spMkLst>
        </pc:spChg>
        <pc:picChg chg="mod">
          <ac:chgData name="Ewen Trafford" userId="e520b4bf-a196-48b7-bc10-b1590a457daa" providerId="ADAL" clId="{050F2901-02EA-4CCD-80E9-59020FB821DE}" dt="2022-06-01T14:47:52.554" v="748" actId="1076"/>
          <ac:picMkLst>
            <pc:docMk/>
            <pc:sldMk cId="3209739012" sldId="310"/>
            <ac:picMk id="5" creationId="{FA42C68B-E6E9-486C-8F93-455C9B1B04F2}"/>
          </ac:picMkLst>
        </pc:picChg>
      </pc:sldChg>
      <pc:sldChg chg="addSp delSp modSp mod">
        <pc:chgData name="Ewen Trafford" userId="e520b4bf-a196-48b7-bc10-b1590a457daa" providerId="ADAL" clId="{050F2901-02EA-4CCD-80E9-59020FB821DE}" dt="2022-05-31T13:16:26.245" v="587"/>
        <pc:sldMkLst>
          <pc:docMk/>
          <pc:sldMk cId="4248556420" sldId="314"/>
        </pc:sldMkLst>
        <pc:spChg chg="mod">
          <ac:chgData name="Ewen Trafford" userId="e520b4bf-a196-48b7-bc10-b1590a457daa" providerId="ADAL" clId="{050F2901-02EA-4CCD-80E9-59020FB821DE}" dt="2022-05-31T12:56:04.860" v="196" actId="14100"/>
          <ac:spMkLst>
            <pc:docMk/>
            <pc:sldMk cId="4248556420" sldId="314"/>
            <ac:spMk id="3" creationId="{96959814-9071-EAE4-F7AC-76E25031DC00}"/>
          </ac:spMkLst>
        </pc:spChg>
        <pc:spChg chg="del">
          <ac:chgData name="Ewen Trafford" userId="e520b4bf-a196-48b7-bc10-b1590a457daa" providerId="ADAL" clId="{050F2901-02EA-4CCD-80E9-59020FB821DE}" dt="2022-05-31T13:15:51.658" v="586" actId="478"/>
          <ac:spMkLst>
            <pc:docMk/>
            <pc:sldMk cId="4248556420" sldId="314"/>
            <ac:spMk id="4" creationId="{70457893-B388-CA53-3E6E-105567370A9A}"/>
          </ac:spMkLst>
        </pc:spChg>
        <pc:picChg chg="add mod">
          <ac:chgData name="Ewen Trafford" userId="e520b4bf-a196-48b7-bc10-b1590a457daa" providerId="ADAL" clId="{050F2901-02EA-4CCD-80E9-59020FB821DE}" dt="2022-05-31T13:16:26.245" v="587"/>
          <ac:picMkLst>
            <pc:docMk/>
            <pc:sldMk cId="4248556420" sldId="314"/>
            <ac:picMk id="5" creationId="{197A8734-4A54-4E2C-814B-7ABF82AB4D77}"/>
          </ac:picMkLst>
        </pc:picChg>
      </pc:sldChg>
      <pc:sldChg chg="addSp modSp mod">
        <pc:chgData name="Ewen Trafford" userId="e520b4bf-a196-48b7-bc10-b1590a457daa" providerId="ADAL" clId="{050F2901-02EA-4CCD-80E9-59020FB821DE}" dt="2022-06-01T13:14:35.443" v="664" actId="20577"/>
        <pc:sldMkLst>
          <pc:docMk/>
          <pc:sldMk cId="1627569597" sldId="315"/>
        </pc:sldMkLst>
        <pc:spChg chg="mod">
          <ac:chgData name="Ewen Trafford" userId="e520b4bf-a196-48b7-bc10-b1590a457daa" providerId="ADAL" clId="{050F2901-02EA-4CCD-80E9-59020FB821DE}" dt="2022-06-01T13:14:35.443" v="664" actId="20577"/>
          <ac:spMkLst>
            <pc:docMk/>
            <pc:sldMk cId="1627569597" sldId="315"/>
            <ac:spMk id="3" creationId="{78101E67-B0F1-726C-7F13-95384EA7B94E}"/>
          </ac:spMkLst>
        </pc:spChg>
        <pc:spChg chg="add mod">
          <ac:chgData name="Ewen Trafford" userId="e520b4bf-a196-48b7-bc10-b1590a457daa" providerId="ADAL" clId="{050F2901-02EA-4CCD-80E9-59020FB821DE}" dt="2022-06-01T13:14:04.056" v="663" actId="1076"/>
          <ac:spMkLst>
            <pc:docMk/>
            <pc:sldMk cId="1627569597" sldId="315"/>
            <ac:spMk id="4" creationId="{C848D59B-3A5E-45BB-B587-FFA3AE7EC638}"/>
          </ac:spMkLst>
        </pc:spChg>
      </pc:sldChg>
      <pc:sldChg chg="modSp mod">
        <pc:chgData name="Ewen Trafford" userId="e520b4bf-a196-48b7-bc10-b1590a457daa" providerId="ADAL" clId="{050F2901-02EA-4CCD-80E9-59020FB821DE}" dt="2022-05-31T12:47:03.893" v="176" actId="13926"/>
        <pc:sldMkLst>
          <pc:docMk/>
          <pc:sldMk cId="813545271" sldId="316"/>
        </pc:sldMkLst>
        <pc:spChg chg="mod">
          <ac:chgData name="Ewen Trafford" userId="e520b4bf-a196-48b7-bc10-b1590a457daa" providerId="ADAL" clId="{050F2901-02EA-4CCD-80E9-59020FB821DE}" dt="2022-05-31T12:47:03.893" v="176" actId="13926"/>
          <ac:spMkLst>
            <pc:docMk/>
            <pc:sldMk cId="813545271" sldId="316"/>
            <ac:spMk id="4" creationId="{B951880E-2548-03FC-30F1-559F3B67733E}"/>
          </ac:spMkLst>
        </pc:spChg>
      </pc:sldChg>
      <pc:sldChg chg="modSp mod">
        <pc:chgData name="Ewen Trafford" userId="e520b4bf-a196-48b7-bc10-b1590a457daa" providerId="ADAL" clId="{050F2901-02EA-4CCD-80E9-59020FB821DE}" dt="2022-06-01T07:42:20.136" v="657" actId="20577"/>
        <pc:sldMkLst>
          <pc:docMk/>
          <pc:sldMk cId="1986818962" sldId="317"/>
        </pc:sldMkLst>
        <pc:spChg chg="mod">
          <ac:chgData name="Ewen Trafford" userId="e520b4bf-a196-48b7-bc10-b1590a457daa" providerId="ADAL" clId="{050F2901-02EA-4CCD-80E9-59020FB821DE}" dt="2022-06-01T07:42:20.136" v="657" actId="20577"/>
          <ac:spMkLst>
            <pc:docMk/>
            <pc:sldMk cId="1986818962" sldId="317"/>
            <ac:spMk id="3" creationId="{F542AE94-456A-179B-63E4-5401D70ED4F9}"/>
          </ac:spMkLst>
        </pc:spChg>
      </pc:sldChg>
      <pc:sldChg chg="addSp delSp modSp add mod">
        <pc:chgData name="Ewen Trafford" userId="e520b4bf-a196-48b7-bc10-b1590a457daa" providerId="ADAL" clId="{050F2901-02EA-4CCD-80E9-59020FB821DE}" dt="2022-05-31T13:01:47.360" v="585" actId="962"/>
        <pc:sldMkLst>
          <pc:docMk/>
          <pc:sldMk cId="2671712240" sldId="318"/>
        </pc:sldMkLst>
        <pc:spChg chg="mod">
          <ac:chgData name="Ewen Trafford" userId="e520b4bf-a196-48b7-bc10-b1590a457daa" providerId="ADAL" clId="{050F2901-02EA-4CCD-80E9-59020FB821DE}" dt="2022-05-31T13:00:40.699" v="581" actId="20577"/>
          <ac:spMkLst>
            <pc:docMk/>
            <pc:sldMk cId="2671712240" sldId="318"/>
            <ac:spMk id="3" creationId="{96959814-9071-EAE4-F7AC-76E25031DC00}"/>
          </ac:spMkLst>
        </pc:spChg>
        <pc:spChg chg="del">
          <ac:chgData name="Ewen Trafford" userId="e520b4bf-a196-48b7-bc10-b1590a457daa" providerId="ADAL" clId="{050F2901-02EA-4CCD-80E9-59020FB821DE}" dt="2022-05-31T12:56:45.147" v="198" actId="478"/>
          <ac:spMkLst>
            <pc:docMk/>
            <pc:sldMk cId="2671712240" sldId="318"/>
            <ac:spMk id="4" creationId="{70457893-B388-CA53-3E6E-105567370A9A}"/>
          </ac:spMkLst>
        </pc:spChg>
        <pc:picChg chg="add mod">
          <ac:chgData name="Ewen Trafford" userId="e520b4bf-a196-48b7-bc10-b1590a457daa" providerId="ADAL" clId="{050F2901-02EA-4CCD-80E9-59020FB821DE}" dt="2022-05-31T13:01:47.360" v="585" actId="962"/>
          <ac:picMkLst>
            <pc:docMk/>
            <pc:sldMk cId="2671712240" sldId="318"/>
            <ac:picMk id="6" creationId="{3A8E65E4-A4F0-4971-8A62-91D0ADADF820}"/>
          </ac:picMkLst>
        </pc:picChg>
      </pc:sldChg>
      <pc:sldChg chg="addSp delSp modSp add mod">
        <pc:chgData name="Ewen Trafford" userId="e520b4bf-a196-48b7-bc10-b1590a457daa" providerId="ADAL" clId="{050F2901-02EA-4CCD-80E9-59020FB821DE}" dt="2022-06-01T15:10:16.908" v="1645" actId="1076"/>
        <pc:sldMkLst>
          <pc:docMk/>
          <pc:sldMk cId="3242718659" sldId="321"/>
        </pc:sldMkLst>
        <pc:spChg chg="mod">
          <ac:chgData name="Ewen Trafford" userId="e520b4bf-a196-48b7-bc10-b1590a457daa" providerId="ADAL" clId="{050F2901-02EA-4CCD-80E9-59020FB821DE}" dt="2022-06-01T14:54:12.482" v="826" actId="20577"/>
          <ac:spMkLst>
            <pc:docMk/>
            <pc:sldMk cId="3242718659" sldId="321"/>
            <ac:spMk id="2" creationId="{ECB39143-43DB-404B-999A-68A64BABF4DE}"/>
          </ac:spMkLst>
        </pc:spChg>
        <pc:spChg chg="del">
          <ac:chgData name="Ewen Trafford" userId="e520b4bf-a196-48b7-bc10-b1590a457daa" providerId="ADAL" clId="{050F2901-02EA-4CCD-80E9-59020FB821DE}" dt="2022-06-01T14:42:30.801" v="675" actId="478"/>
          <ac:spMkLst>
            <pc:docMk/>
            <pc:sldMk cId="3242718659" sldId="321"/>
            <ac:spMk id="3" creationId="{82E1E8C1-13C2-39F4-CCF1-E26E44E671DB}"/>
          </ac:spMkLst>
        </pc:spChg>
        <pc:spChg chg="add mod">
          <ac:chgData name="Ewen Trafford" userId="e520b4bf-a196-48b7-bc10-b1590a457daa" providerId="ADAL" clId="{050F2901-02EA-4CCD-80E9-59020FB821DE}" dt="2022-06-01T15:10:16.908" v="1645" actId="1076"/>
          <ac:spMkLst>
            <pc:docMk/>
            <pc:sldMk cId="3242718659" sldId="321"/>
            <ac:spMk id="4" creationId="{89628BFC-AD4C-4038-9C13-847717E6B879}"/>
          </ac:spMkLst>
        </pc:spChg>
        <pc:spChg chg="add mod">
          <ac:chgData name="Ewen Trafford" userId="e520b4bf-a196-48b7-bc10-b1590a457daa" providerId="ADAL" clId="{050F2901-02EA-4CCD-80E9-59020FB821DE}" dt="2022-06-01T15:10:16.908" v="1645" actId="1076"/>
          <ac:spMkLst>
            <pc:docMk/>
            <pc:sldMk cId="3242718659" sldId="321"/>
            <ac:spMk id="6" creationId="{31B29C72-F459-4D61-AB49-7BB7D575ED6F}"/>
          </ac:spMkLst>
        </pc:spChg>
        <pc:spChg chg="del">
          <ac:chgData name="Ewen Trafford" userId="e520b4bf-a196-48b7-bc10-b1590a457daa" providerId="ADAL" clId="{050F2901-02EA-4CCD-80E9-59020FB821DE}" dt="2022-06-01T14:42:28.965" v="673" actId="478"/>
          <ac:spMkLst>
            <pc:docMk/>
            <pc:sldMk cId="3242718659" sldId="321"/>
            <ac:spMk id="8" creationId="{EC2AA5D8-F8D8-4242-8DAC-9758B8843027}"/>
          </ac:spMkLst>
        </pc:spChg>
        <pc:spChg chg="del mod">
          <ac:chgData name="Ewen Trafford" userId="e520b4bf-a196-48b7-bc10-b1590a457daa" providerId="ADAL" clId="{050F2901-02EA-4CCD-80E9-59020FB821DE}" dt="2022-06-01T14:45:23.173" v="704" actId="478"/>
          <ac:spMkLst>
            <pc:docMk/>
            <pc:sldMk cId="3242718659" sldId="321"/>
            <ac:spMk id="13" creationId="{02E09705-AFB4-4B4A-89E0-334E95AD3D06}"/>
          </ac:spMkLst>
        </pc:spChg>
        <pc:spChg chg="mod">
          <ac:chgData name="Ewen Trafford" userId="e520b4bf-a196-48b7-bc10-b1590a457daa" providerId="ADAL" clId="{050F2901-02EA-4CCD-80E9-59020FB821DE}" dt="2022-06-01T14:54:19.404" v="828" actId="1076"/>
          <ac:spMkLst>
            <pc:docMk/>
            <pc:sldMk cId="3242718659" sldId="321"/>
            <ac:spMk id="16" creationId="{4421B915-9D86-4631-82D1-085C58FC3686}"/>
          </ac:spMkLst>
        </pc:spChg>
        <pc:spChg chg="mod">
          <ac:chgData name="Ewen Trafford" userId="e520b4bf-a196-48b7-bc10-b1590a457daa" providerId="ADAL" clId="{050F2901-02EA-4CCD-80E9-59020FB821DE}" dt="2022-06-01T14:45:58.673" v="711" actId="1076"/>
          <ac:spMkLst>
            <pc:docMk/>
            <pc:sldMk cId="3242718659" sldId="321"/>
            <ac:spMk id="17" creationId="{A13F6C8C-2CBC-458D-A635-4F60970A1540}"/>
          </ac:spMkLst>
        </pc:spChg>
        <pc:spChg chg="mod">
          <ac:chgData name="Ewen Trafford" userId="e520b4bf-a196-48b7-bc10-b1590a457daa" providerId="ADAL" clId="{050F2901-02EA-4CCD-80E9-59020FB821DE}" dt="2022-06-01T14:45:54.606" v="710" actId="1076"/>
          <ac:spMkLst>
            <pc:docMk/>
            <pc:sldMk cId="3242718659" sldId="321"/>
            <ac:spMk id="18" creationId="{D2602FB9-EF64-4C79-864B-4B1281DF5A3C}"/>
          </ac:spMkLst>
        </pc:spChg>
        <pc:spChg chg="add mod">
          <ac:chgData name="Ewen Trafford" userId="e520b4bf-a196-48b7-bc10-b1590a457daa" providerId="ADAL" clId="{050F2901-02EA-4CCD-80E9-59020FB821DE}" dt="2022-06-01T15:10:16.908" v="1645" actId="1076"/>
          <ac:spMkLst>
            <pc:docMk/>
            <pc:sldMk cId="3242718659" sldId="321"/>
            <ac:spMk id="19" creationId="{63D851DD-2719-49ED-9982-C9D7A231E8B7}"/>
          </ac:spMkLst>
        </pc:spChg>
        <pc:spChg chg="add mod">
          <ac:chgData name="Ewen Trafford" userId="e520b4bf-a196-48b7-bc10-b1590a457daa" providerId="ADAL" clId="{050F2901-02EA-4CCD-80E9-59020FB821DE}" dt="2022-06-01T15:10:16.908" v="1645" actId="1076"/>
          <ac:spMkLst>
            <pc:docMk/>
            <pc:sldMk cId="3242718659" sldId="321"/>
            <ac:spMk id="20" creationId="{D796803E-7ED7-40D2-843A-CF930D929DD1}"/>
          </ac:spMkLst>
        </pc:spChg>
        <pc:spChg chg="add mod">
          <ac:chgData name="Ewen Trafford" userId="e520b4bf-a196-48b7-bc10-b1590a457daa" providerId="ADAL" clId="{050F2901-02EA-4CCD-80E9-59020FB821DE}" dt="2022-06-01T15:10:16.908" v="1645" actId="1076"/>
          <ac:spMkLst>
            <pc:docMk/>
            <pc:sldMk cId="3242718659" sldId="321"/>
            <ac:spMk id="21" creationId="{EBAA8E3F-92D8-49FC-9113-46FC31899FEB}"/>
          </ac:spMkLst>
        </pc:spChg>
        <pc:grpChg chg="add mod">
          <ac:chgData name="Ewen Trafford" userId="e520b4bf-a196-48b7-bc10-b1590a457daa" providerId="ADAL" clId="{050F2901-02EA-4CCD-80E9-59020FB821DE}" dt="2022-06-01T15:06:11.856" v="1523" actId="1076"/>
          <ac:grpSpMkLst>
            <pc:docMk/>
            <pc:sldMk cId="3242718659" sldId="321"/>
            <ac:grpSpMk id="12" creationId="{A62D8B44-8FE2-4FD9-B9BE-4A267BF086D7}"/>
          </ac:grpSpMkLst>
        </pc:grpChg>
        <pc:picChg chg="del">
          <ac:chgData name="Ewen Trafford" userId="e520b4bf-a196-48b7-bc10-b1590a457daa" providerId="ADAL" clId="{050F2901-02EA-4CCD-80E9-59020FB821DE}" dt="2022-06-01T14:42:29.558" v="674" actId="478"/>
          <ac:picMkLst>
            <pc:docMk/>
            <pc:sldMk cId="3242718659" sldId="321"/>
            <ac:picMk id="5" creationId="{FA42C68B-E6E9-486C-8F93-455C9B1B04F2}"/>
          </ac:picMkLst>
        </pc:picChg>
        <pc:picChg chg="add mod modCrop">
          <ac:chgData name="Ewen Trafford" userId="e520b4bf-a196-48b7-bc10-b1590a457daa" providerId="ADAL" clId="{050F2901-02EA-4CCD-80E9-59020FB821DE}" dt="2022-06-01T15:10:16.908" v="1645" actId="1076"/>
          <ac:picMkLst>
            <pc:docMk/>
            <pc:sldMk cId="3242718659" sldId="321"/>
            <ac:picMk id="9" creationId="{1466BC97-189B-4972-BE31-96AB3B3AE643}"/>
          </ac:picMkLst>
        </pc:picChg>
        <pc:picChg chg="add mod modCrop">
          <ac:chgData name="Ewen Trafford" userId="e520b4bf-a196-48b7-bc10-b1590a457daa" providerId="ADAL" clId="{050F2901-02EA-4CCD-80E9-59020FB821DE}" dt="2022-06-01T15:10:16.908" v="1645" actId="1076"/>
          <ac:picMkLst>
            <pc:docMk/>
            <pc:sldMk cId="3242718659" sldId="321"/>
            <ac:picMk id="10" creationId="{5FCB5562-066A-479A-9BAF-E6F78009EA1F}"/>
          </ac:picMkLst>
        </pc:picChg>
        <pc:picChg chg="add mod modCrop">
          <ac:chgData name="Ewen Trafford" userId="e520b4bf-a196-48b7-bc10-b1590a457daa" providerId="ADAL" clId="{050F2901-02EA-4CCD-80E9-59020FB821DE}" dt="2022-06-01T15:10:16.908" v="1645" actId="1076"/>
          <ac:picMkLst>
            <pc:docMk/>
            <pc:sldMk cId="3242718659" sldId="321"/>
            <ac:picMk id="11" creationId="{89676DCE-A09A-43C6-86F0-CFE5E78CBAE2}"/>
          </ac:picMkLst>
        </pc:picChg>
        <pc:picChg chg="mod">
          <ac:chgData name="Ewen Trafford" userId="e520b4bf-a196-48b7-bc10-b1590a457daa" providerId="ADAL" clId="{050F2901-02EA-4CCD-80E9-59020FB821DE}" dt="2022-06-01T14:45:58.673" v="711" actId="1076"/>
          <ac:picMkLst>
            <pc:docMk/>
            <pc:sldMk cId="3242718659" sldId="321"/>
            <ac:picMk id="14" creationId="{DF478CA5-8AEF-4A9C-8CB8-B8BE780BC85D}"/>
          </ac:picMkLst>
        </pc:picChg>
        <pc:picChg chg="mod">
          <ac:chgData name="Ewen Trafford" userId="e520b4bf-a196-48b7-bc10-b1590a457daa" providerId="ADAL" clId="{050F2901-02EA-4CCD-80E9-59020FB821DE}" dt="2022-06-01T14:45:54.606" v="710" actId="1076"/>
          <ac:picMkLst>
            <pc:docMk/>
            <pc:sldMk cId="3242718659" sldId="321"/>
            <ac:picMk id="15" creationId="{BDA3A3D1-523C-4E42-8D1C-D0F7925473FD}"/>
          </ac:picMkLst>
        </pc:picChg>
        <pc:picChg chg="add del mod ord">
          <ac:chgData name="Ewen Trafford" userId="e520b4bf-a196-48b7-bc10-b1590a457daa" providerId="ADAL" clId="{050F2901-02EA-4CCD-80E9-59020FB821DE}" dt="2022-06-01T15:06:48.524" v="1530" actId="478"/>
          <ac:picMkLst>
            <pc:docMk/>
            <pc:sldMk cId="3242718659" sldId="321"/>
            <ac:picMk id="22" creationId="{B29CD897-5734-4FBF-8DFE-860FE228EFE6}"/>
          </ac:picMkLst>
        </pc:picChg>
        <pc:picChg chg="add del mod ord">
          <ac:chgData name="Ewen Trafford" userId="e520b4bf-a196-48b7-bc10-b1590a457daa" providerId="ADAL" clId="{050F2901-02EA-4CCD-80E9-59020FB821DE}" dt="2022-06-01T15:07:06.574" v="1539" actId="478"/>
          <ac:picMkLst>
            <pc:docMk/>
            <pc:sldMk cId="3242718659" sldId="321"/>
            <ac:picMk id="23" creationId="{AA0EA621-015E-4CD6-94AC-8AE129A34A3B}"/>
          </ac:picMkLst>
        </pc:picChg>
        <pc:picChg chg="add del mod ord">
          <ac:chgData name="Ewen Trafford" userId="e520b4bf-a196-48b7-bc10-b1590a457daa" providerId="ADAL" clId="{050F2901-02EA-4CCD-80E9-59020FB821DE}" dt="2022-06-01T15:07:25.797" v="1548" actId="478"/>
          <ac:picMkLst>
            <pc:docMk/>
            <pc:sldMk cId="3242718659" sldId="321"/>
            <ac:picMk id="24" creationId="{3E8EF79E-AB44-45EC-9BD9-EF8AC14540B1}"/>
          </ac:picMkLst>
        </pc:picChg>
      </pc:sldChg>
      <pc:sldChg chg="addSp delSp modSp add mod">
        <pc:chgData name="Ewen Trafford" userId="e520b4bf-a196-48b7-bc10-b1590a457daa" providerId="ADAL" clId="{050F2901-02EA-4CCD-80E9-59020FB821DE}" dt="2022-06-01T15:06:06.346" v="1522" actId="1076"/>
        <pc:sldMkLst>
          <pc:docMk/>
          <pc:sldMk cId="3997623350" sldId="322"/>
        </pc:sldMkLst>
        <pc:spChg chg="mod">
          <ac:chgData name="Ewen Trafford" userId="e520b4bf-a196-48b7-bc10-b1590a457daa" providerId="ADAL" clId="{050F2901-02EA-4CCD-80E9-59020FB821DE}" dt="2022-06-01T14:54:03.155" v="800" actId="20577"/>
          <ac:spMkLst>
            <pc:docMk/>
            <pc:sldMk cId="3997623350" sldId="322"/>
            <ac:spMk id="2" creationId="{ECB39143-43DB-404B-999A-68A64BABF4DE}"/>
          </ac:spMkLst>
        </pc:spChg>
        <pc:spChg chg="mod">
          <ac:chgData name="Ewen Trafford" userId="e520b4bf-a196-48b7-bc10-b1590a457daa" providerId="ADAL" clId="{050F2901-02EA-4CCD-80E9-59020FB821DE}" dt="2022-06-01T14:53:39.436" v="772" actId="1076"/>
          <ac:spMkLst>
            <pc:docMk/>
            <pc:sldMk cId="3997623350" sldId="322"/>
            <ac:spMk id="16" creationId="{4421B915-9D86-4631-82D1-085C58FC3686}"/>
          </ac:spMkLst>
        </pc:spChg>
        <pc:spChg chg="mod">
          <ac:chgData name="Ewen Trafford" userId="e520b4bf-a196-48b7-bc10-b1590a457daa" providerId="ADAL" clId="{050F2901-02EA-4CCD-80E9-59020FB821DE}" dt="2022-06-01T14:49:59.272" v="764" actId="1076"/>
          <ac:spMkLst>
            <pc:docMk/>
            <pc:sldMk cId="3997623350" sldId="322"/>
            <ac:spMk id="18" creationId="{D2602FB9-EF64-4C79-864B-4B1281DF5A3C}"/>
          </ac:spMkLst>
        </pc:spChg>
        <pc:spChg chg="add mod">
          <ac:chgData name="Ewen Trafford" userId="e520b4bf-a196-48b7-bc10-b1590a457daa" providerId="ADAL" clId="{050F2901-02EA-4CCD-80E9-59020FB821DE}" dt="2022-06-01T15:00:04.625" v="1386" actId="164"/>
          <ac:spMkLst>
            <pc:docMk/>
            <pc:sldMk cId="3997623350" sldId="322"/>
            <ac:spMk id="21" creationId="{934D44A2-803B-4163-B8D6-63CCD04FB6D6}"/>
          </ac:spMkLst>
        </pc:spChg>
        <pc:spChg chg="add mod">
          <ac:chgData name="Ewen Trafford" userId="e520b4bf-a196-48b7-bc10-b1590a457daa" providerId="ADAL" clId="{050F2901-02EA-4CCD-80E9-59020FB821DE}" dt="2022-06-01T15:04:25.046" v="1439" actId="1076"/>
          <ac:spMkLst>
            <pc:docMk/>
            <pc:sldMk cId="3997623350" sldId="322"/>
            <ac:spMk id="22" creationId="{F977F16C-AD46-4BC6-B293-7D8019CB465C}"/>
          </ac:spMkLst>
        </pc:spChg>
        <pc:spChg chg="add mod">
          <ac:chgData name="Ewen Trafford" userId="e520b4bf-a196-48b7-bc10-b1590a457daa" providerId="ADAL" clId="{050F2901-02EA-4CCD-80E9-59020FB821DE}" dt="2022-06-01T15:04:38.840" v="1440" actId="1076"/>
          <ac:spMkLst>
            <pc:docMk/>
            <pc:sldMk cId="3997623350" sldId="322"/>
            <ac:spMk id="23" creationId="{CBB1DB9A-8EAF-4F2A-AF66-91C87E164E80}"/>
          </ac:spMkLst>
        </pc:spChg>
        <pc:spChg chg="add mod">
          <ac:chgData name="Ewen Trafford" userId="e520b4bf-a196-48b7-bc10-b1590a457daa" providerId="ADAL" clId="{050F2901-02EA-4CCD-80E9-59020FB821DE}" dt="2022-06-01T15:01:36.754" v="1406" actId="1037"/>
          <ac:spMkLst>
            <pc:docMk/>
            <pc:sldMk cId="3997623350" sldId="322"/>
            <ac:spMk id="24" creationId="{0F708853-0B3B-469A-AAA9-6330C1F71C33}"/>
          </ac:spMkLst>
        </pc:spChg>
        <pc:spChg chg="add mod">
          <ac:chgData name="Ewen Trafford" userId="e520b4bf-a196-48b7-bc10-b1590a457daa" providerId="ADAL" clId="{050F2901-02EA-4CCD-80E9-59020FB821DE}" dt="2022-06-01T15:03:54.820" v="1418" actId="1076"/>
          <ac:spMkLst>
            <pc:docMk/>
            <pc:sldMk cId="3997623350" sldId="322"/>
            <ac:spMk id="25" creationId="{998B4088-D9BA-4295-8D70-E7F4D7790401}"/>
          </ac:spMkLst>
        </pc:spChg>
        <pc:spChg chg="add mod">
          <ac:chgData name="Ewen Trafford" userId="e520b4bf-a196-48b7-bc10-b1590a457daa" providerId="ADAL" clId="{050F2901-02EA-4CCD-80E9-59020FB821DE}" dt="2022-06-01T15:06:02.510" v="1521" actId="1076"/>
          <ac:spMkLst>
            <pc:docMk/>
            <pc:sldMk cId="3997623350" sldId="322"/>
            <ac:spMk id="26" creationId="{D4D2C9E5-41BE-494E-84A0-DC1FB2634DAF}"/>
          </ac:spMkLst>
        </pc:spChg>
        <pc:grpChg chg="add mod">
          <ac:chgData name="Ewen Trafford" userId="e520b4bf-a196-48b7-bc10-b1590a457daa" providerId="ADAL" clId="{050F2901-02EA-4CCD-80E9-59020FB821DE}" dt="2022-06-01T15:06:06.346" v="1522" actId="1076"/>
          <ac:grpSpMkLst>
            <pc:docMk/>
            <pc:sldMk cId="3997623350" sldId="322"/>
            <ac:grpSpMk id="3" creationId="{7C4C0830-9010-4332-9853-9720AA38B930}"/>
          </ac:grpSpMkLst>
        </pc:grpChg>
        <pc:grpChg chg="mod">
          <ac:chgData name="Ewen Trafford" userId="e520b4bf-a196-48b7-bc10-b1590a457daa" providerId="ADAL" clId="{050F2901-02EA-4CCD-80E9-59020FB821DE}" dt="2022-06-01T15:00:04.625" v="1386" actId="164"/>
          <ac:grpSpMkLst>
            <pc:docMk/>
            <pc:sldMk cId="3997623350" sldId="322"/>
            <ac:grpSpMk id="12" creationId="{A62D8B44-8FE2-4FD9-B9BE-4A267BF086D7}"/>
          </ac:grpSpMkLst>
        </pc:grpChg>
        <pc:picChg chg="add mod">
          <ac:chgData name="Ewen Trafford" userId="e520b4bf-a196-48b7-bc10-b1590a457daa" providerId="ADAL" clId="{050F2901-02EA-4CCD-80E9-59020FB821DE}" dt="2022-06-01T15:03:50.307" v="1416" actId="1076"/>
          <ac:picMkLst>
            <pc:docMk/>
            <pc:sldMk cId="3997623350" sldId="322"/>
            <ac:picMk id="5" creationId="{850D856E-01E9-4167-AA4F-3D42A85E9FA3}"/>
          </ac:picMkLst>
        </pc:picChg>
        <pc:picChg chg="del">
          <ac:chgData name="Ewen Trafford" userId="e520b4bf-a196-48b7-bc10-b1590a457daa" providerId="ADAL" clId="{050F2901-02EA-4CCD-80E9-59020FB821DE}" dt="2022-06-01T14:48:19.191" v="750" actId="478"/>
          <ac:picMkLst>
            <pc:docMk/>
            <pc:sldMk cId="3997623350" sldId="322"/>
            <ac:picMk id="9" creationId="{1466BC97-189B-4972-BE31-96AB3B3AE643}"/>
          </ac:picMkLst>
        </pc:picChg>
        <pc:picChg chg="del">
          <ac:chgData name="Ewen Trafford" userId="e520b4bf-a196-48b7-bc10-b1590a457daa" providerId="ADAL" clId="{050F2901-02EA-4CCD-80E9-59020FB821DE}" dt="2022-06-01T14:48:19.610" v="751" actId="478"/>
          <ac:picMkLst>
            <pc:docMk/>
            <pc:sldMk cId="3997623350" sldId="322"/>
            <ac:picMk id="10" creationId="{5FCB5562-066A-479A-9BAF-E6F78009EA1F}"/>
          </ac:picMkLst>
        </pc:picChg>
        <pc:picChg chg="del">
          <ac:chgData name="Ewen Trafford" userId="e520b4bf-a196-48b7-bc10-b1590a457daa" providerId="ADAL" clId="{050F2901-02EA-4CCD-80E9-59020FB821DE}" dt="2022-06-01T14:48:19.972" v="752" actId="478"/>
          <ac:picMkLst>
            <pc:docMk/>
            <pc:sldMk cId="3997623350" sldId="322"/>
            <ac:picMk id="11" creationId="{89676DCE-A09A-43C6-86F0-CFE5E78CBAE2}"/>
          </ac:picMkLst>
        </pc:picChg>
        <pc:picChg chg="add mod">
          <ac:chgData name="Ewen Trafford" userId="e520b4bf-a196-48b7-bc10-b1590a457daa" providerId="ADAL" clId="{050F2901-02EA-4CCD-80E9-59020FB821DE}" dt="2022-06-01T15:04:25.046" v="1439" actId="1076"/>
          <ac:picMkLst>
            <pc:docMk/>
            <pc:sldMk cId="3997623350" sldId="322"/>
            <ac:picMk id="13" creationId="{092802BF-F80A-4D1E-AC60-D53B3D0CE2FD}"/>
          </ac:picMkLst>
        </pc:picChg>
        <pc:picChg chg="mod">
          <ac:chgData name="Ewen Trafford" userId="e520b4bf-a196-48b7-bc10-b1590a457daa" providerId="ADAL" clId="{050F2901-02EA-4CCD-80E9-59020FB821DE}" dt="2022-06-01T14:49:56.223" v="763" actId="1076"/>
          <ac:picMkLst>
            <pc:docMk/>
            <pc:sldMk cId="3997623350" sldId="322"/>
            <ac:picMk id="15" creationId="{BDA3A3D1-523C-4E42-8D1C-D0F7925473FD}"/>
          </ac:picMkLst>
        </pc:picChg>
        <pc:picChg chg="add mod modCrop">
          <ac:chgData name="Ewen Trafford" userId="e520b4bf-a196-48b7-bc10-b1590a457daa" providerId="ADAL" clId="{050F2901-02EA-4CCD-80E9-59020FB821DE}" dt="2022-06-01T15:00:27.923" v="1390" actId="1035"/>
          <ac:picMkLst>
            <pc:docMk/>
            <pc:sldMk cId="3997623350" sldId="322"/>
            <ac:picMk id="19" creationId="{B4A403E4-7F35-4DFE-AE02-2E83C1A9E551}"/>
          </ac:picMkLst>
        </pc:picChg>
        <pc:picChg chg="add mod">
          <ac:chgData name="Ewen Trafford" userId="e520b4bf-a196-48b7-bc10-b1590a457daa" providerId="ADAL" clId="{050F2901-02EA-4CCD-80E9-59020FB821DE}" dt="2022-06-01T15:00:04.625" v="1386" actId="164"/>
          <ac:picMkLst>
            <pc:docMk/>
            <pc:sldMk cId="3997623350" sldId="322"/>
            <ac:picMk id="20" creationId="{AAD0D4BD-BB50-448D-8BFB-CF83752266AE}"/>
          </ac:picMkLst>
        </pc:picChg>
      </pc:sldChg>
    </pc:docChg>
  </pc:docChgLst>
  <pc:docChgLst>
    <pc:chgData name="Ewen Trafford" userId="e520b4bf-a196-48b7-bc10-b1590a457daa" providerId="ADAL" clId="{E55D3F34-8289-4974-90B0-0DEEC8734E9E}"/>
    <pc:docChg chg="custSel modSld">
      <pc:chgData name="Ewen Trafford" userId="e520b4bf-a196-48b7-bc10-b1590a457daa" providerId="ADAL" clId="{E55D3F34-8289-4974-90B0-0DEEC8734E9E}" dt="2022-12-02T10:43:38.471" v="18" actId="207"/>
      <pc:docMkLst>
        <pc:docMk/>
      </pc:docMkLst>
      <pc:sldChg chg="modSp mod">
        <pc:chgData name="Ewen Trafford" userId="e520b4bf-a196-48b7-bc10-b1590a457daa" providerId="ADAL" clId="{E55D3F34-8289-4974-90B0-0DEEC8734E9E}" dt="2022-12-02T10:43:38.471" v="18" actId="207"/>
        <pc:sldMkLst>
          <pc:docMk/>
          <pc:sldMk cId="2450036879" sldId="324"/>
        </pc:sldMkLst>
        <pc:spChg chg="mod">
          <ac:chgData name="Ewen Trafford" userId="e520b4bf-a196-48b7-bc10-b1590a457daa" providerId="ADAL" clId="{E55D3F34-8289-4974-90B0-0DEEC8734E9E}" dt="2022-12-02T10:41:42.939" v="0" actId="13926"/>
          <ac:spMkLst>
            <pc:docMk/>
            <pc:sldMk cId="2450036879" sldId="324"/>
            <ac:spMk id="2" creationId="{8549F38A-2811-8A0A-0903-F90C6CA9F351}"/>
          </ac:spMkLst>
        </pc:spChg>
        <pc:graphicFrameChg chg="mod modGraphic">
          <ac:chgData name="Ewen Trafford" userId="e520b4bf-a196-48b7-bc10-b1590a457daa" providerId="ADAL" clId="{E55D3F34-8289-4974-90B0-0DEEC8734E9E}" dt="2022-12-02T10:43:38.471" v="18" actId="207"/>
          <ac:graphicFrameMkLst>
            <pc:docMk/>
            <pc:sldMk cId="2450036879" sldId="324"/>
            <ac:graphicFrameMk id="7" creationId="{21663884-8A5D-DD9A-B4F0-E1EED248AA0D}"/>
          </ac:graphicFrameMkLst>
        </pc:graphicFrameChg>
      </pc:sldChg>
    </pc:docChg>
  </pc:docChgLst>
  <pc:docChgLst>
    <pc:chgData name="Ewen Trafford" userId="e520b4bf-a196-48b7-bc10-b1590a457daa" providerId="ADAL" clId="{05788973-7309-4AE3-B87B-090DFAFD9016}"/>
    <pc:docChg chg="undo custSel modSld">
      <pc:chgData name="Ewen Trafford" userId="e520b4bf-a196-48b7-bc10-b1590a457daa" providerId="ADAL" clId="{05788973-7309-4AE3-B87B-090DFAFD9016}" dt="2022-11-11T13:13:56.931" v="125" actId="1076"/>
      <pc:docMkLst>
        <pc:docMk/>
      </pc:docMkLst>
      <pc:sldChg chg="delSp mod">
        <pc:chgData name="Ewen Trafford" userId="e520b4bf-a196-48b7-bc10-b1590a457daa" providerId="ADAL" clId="{05788973-7309-4AE3-B87B-090DFAFD9016}" dt="2022-11-11T11:31:12.375" v="8" actId="478"/>
        <pc:sldMkLst>
          <pc:docMk/>
          <pc:sldMk cId="502010466" sldId="264"/>
        </pc:sldMkLst>
        <pc:picChg chg="del">
          <ac:chgData name="Ewen Trafford" userId="e520b4bf-a196-48b7-bc10-b1590a457daa" providerId="ADAL" clId="{05788973-7309-4AE3-B87B-090DFAFD9016}" dt="2022-11-11T11:31:12.375" v="8" actId="478"/>
          <ac:picMkLst>
            <pc:docMk/>
            <pc:sldMk cId="502010466" sldId="264"/>
            <ac:picMk id="4" creationId="{00000000-0000-0000-0000-000000000000}"/>
          </ac:picMkLst>
        </pc:picChg>
      </pc:sldChg>
      <pc:sldChg chg="addSp delSp modSp mod">
        <pc:chgData name="Ewen Trafford" userId="e520b4bf-a196-48b7-bc10-b1590a457daa" providerId="ADAL" clId="{05788973-7309-4AE3-B87B-090DFAFD9016}" dt="2022-11-11T13:06:01.902" v="62" actId="1076"/>
        <pc:sldMkLst>
          <pc:docMk/>
          <pc:sldMk cId="2943824031" sldId="266"/>
        </pc:sldMkLst>
        <pc:spChg chg="mod">
          <ac:chgData name="Ewen Trafford" userId="e520b4bf-a196-48b7-bc10-b1590a457daa" providerId="ADAL" clId="{05788973-7309-4AE3-B87B-090DFAFD9016}" dt="2022-11-11T13:05:57.896" v="60" actId="14100"/>
          <ac:spMkLst>
            <pc:docMk/>
            <pc:sldMk cId="2943824031" sldId="266"/>
            <ac:spMk id="3" creationId="{00000000-0000-0000-0000-000000000000}"/>
          </ac:spMkLst>
        </pc:spChg>
        <pc:picChg chg="del">
          <ac:chgData name="Ewen Trafford" userId="e520b4bf-a196-48b7-bc10-b1590a457daa" providerId="ADAL" clId="{05788973-7309-4AE3-B87B-090DFAFD9016}" dt="2022-11-11T11:32:46.333" v="29" actId="478"/>
          <ac:picMkLst>
            <pc:docMk/>
            <pc:sldMk cId="2943824031" sldId="266"/>
            <ac:picMk id="4" creationId="{00000000-0000-0000-0000-000000000000}"/>
          </ac:picMkLst>
        </pc:picChg>
        <pc:picChg chg="add mod ord">
          <ac:chgData name="Ewen Trafford" userId="e520b4bf-a196-48b7-bc10-b1590a457daa" providerId="ADAL" clId="{05788973-7309-4AE3-B87B-090DFAFD9016}" dt="2022-11-11T13:06:01.902" v="62" actId="1076"/>
          <ac:picMkLst>
            <pc:docMk/>
            <pc:sldMk cId="2943824031" sldId="266"/>
            <ac:picMk id="5" creationId="{56C9BA57-D034-DE2C-4EA0-E25EF9BBEC05}"/>
          </ac:picMkLst>
        </pc:picChg>
      </pc:sldChg>
      <pc:sldChg chg="addSp delSp modSp mod">
        <pc:chgData name="Ewen Trafford" userId="e520b4bf-a196-48b7-bc10-b1590a457daa" providerId="ADAL" clId="{05788973-7309-4AE3-B87B-090DFAFD9016}" dt="2022-11-11T13:08:20.728" v="83" actId="1076"/>
        <pc:sldMkLst>
          <pc:docMk/>
          <pc:sldMk cId="38449936" sldId="268"/>
        </pc:sldMkLst>
        <pc:picChg chg="del">
          <ac:chgData name="Ewen Trafford" userId="e520b4bf-a196-48b7-bc10-b1590a457daa" providerId="ADAL" clId="{05788973-7309-4AE3-B87B-090DFAFD9016}" dt="2022-11-11T11:33:33.002" v="41" actId="478"/>
          <ac:picMkLst>
            <pc:docMk/>
            <pc:sldMk cId="38449936" sldId="268"/>
            <ac:picMk id="4" creationId="{00000000-0000-0000-0000-000000000000}"/>
          </ac:picMkLst>
        </pc:picChg>
        <pc:picChg chg="add mod modCrop">
          <ac:chgData name="Ewen Trafford" userId="e520b4bf-a196-48b7-bc10-b1590a457daa" providerId="ADAL" clId="{05788973-7309-4AE3-B87B-090DFAFD9016}" dt="2022-11-11T13:08:20.728" v="83" actId="1076"/>
          <ac:picMkLst>
            <pc:docMk/>
            <pc:sldMk cId="38449936" sldId="268"/>
            <ac:picMk id="6" creationId="{D2F2628E-D31B-9A7B-E15D-1EF3B28CE3B2}"/>
          </ac:picMkLst>
        </pc:picChg>
      </pc:sldChg>
      <pc:sldChg chg="addSp delSp modSp mod">
        <pc:chgData name="Ewen Trafford" userId="e520b4bf-a196-48b7-bc10-b1590a457daa" providerId="ADAL" clId="{05788973-7309-4AE3-B87B-090DFAFD9016}" dt="2022-11-11T13:09:58.342" v="94" actId="1076"/>
        <pc:sldMkLst>
          <pc:docMk/>
          <pc:sldMk cId="3668335961" sldId="269"/>
        </pc:sldMkLst>
        <pc:picChg chg="del">
          <ac:chgData name="Ewen Trafford" userId="e520b4bf-a196-48b7-bc10-b1590a457daa" providerId="ADAL" clId="{05788973-7309-4AE3-B87B-090DFAFD9016}" dt="2022-11-11T11:33:34.047" v="42" actId="478"/>
          <ac:picMkLst>
            <pc:docMk/>
            <pc:sldMk cId="3668335961" sldId="269"/>
            <ac:picMk id="4" creationId="{00000000-0000-0000-0000-000000000000}"/>
          </ac:picMkLst>
        </pc:picChg>
        <pc:picChg chg="add mod">
          <ac:chgData name="Ewen Trafford" userId="e520b4bf-a196-48b7-bc10-b1590a457daa" providerId="ADAL" clId="{05788973-7309-4AE3-B87B-090DFAFD9016}" dt="2022-11-11T13:09:58.342" v="94" actId="1076"/>
          <ac:picMkLst>
            <pc:docMk/>
            <pc:sldMk cId="3668335961" sldId="269"/>
            <ac:picMk id="6" creationId="{50493109-6F37-9691-BE66-CF7930E5307E}"/>
          </ac:picMkLst>
        </pc:picChg>
      </pc:sldChg>
      <pc:sldChg chg="addSp delSp modSp mod">
        <pc:chgData name="Ewen Trafford" userId="e520b4bf-a196-48b7-bc10-b1590a457daa" providerId="ADAL" clId="{05788973-7309-4AE3-B87B-090DFAFD9016}" dt="2022-11-11T13:11:43.713" v="109" actId="20577"/>
        <pc:sldMkLst>
          <pc:docMk/>
          <pc:sldMk cId="2692182681" sldId="272"/>
        </pc:sldMkLst>
        <pc:spChg chg="mod">
          <ac:chgData name="Ewen Trafford" userId="e520b4bf-a196-48b7-bc10-b1590a457daa" providerId="ADAL" clId="{05788973-7309-4AE3-B87B-090DFAFD9016}" dt="2022-11-11T13:11:43.713" v="109" actId="20577"/>
          <ac:spMkLst>
            <pc:docMk/>
            <pc:sldMk cId="2692182681" sldId="272"/>
            <ac:spMk id="3" creationId="{00000000-0000-0000-0000-000000000000}"/>
          </ac:spMkLst>
        </pc:spChg>
        <pc:spChg chg="add del">
          <ac:chgData name="Ewen Trafford" userId="e520b4bf-a196-48b7-bc10-b1590a457daa" providerId="ADAL" clId="{05788973-7309-4AE3-B87B-090DFAFD9016}" dt="2022-11-11T13:10:24.034" v="96"/>
          <ac:spMkLst>
            <pc:docMk/>
            <pc:sldMk cId="2692182681" sldId="272"/>
            <ac:spMk id="5" creationId="{8B643809-6F18-E937-D190-14330879D72F}"/>
          </ac:spMkLst>
        </pc:spChg>
        <pc:picChg chg="del">
          <ac:chgData name="Ewen Trafford" userId="e520b4bf-a196-48b7-bc10-b1590a457daa" providerId="ADAL" clId="{05788973-7309-4AE3-B87B-090DFAFD9016}" dt="2022-11-11T11:33:35.111" v="43" actId="478"/>
          <ac:picMkLst>
            <pc:docMk/>
            <pc:sldMk cId="2692182681" sldId="272"/>
            <ac:picMk id="4" creationId="{00000000-0000-0000-0000-000000000000}"/>
          </ac:picMkLst>
        </pc:picChg>
        <pc:picChg chg="add del">
          <ac:chgData name="Ewen Trafford" userId="e520b4bf-a196-48b7-bc10-b1590a457daa" providerId="ADAL" clId="{05788973-7309-4AE3-B87B-090DFAFD9016}" dt="2022-11-11T13:10:41.589" v="98" actId="478"/>
          <ac:picMkLst>
            <pc:docMk/>
            <pc:sldMk cId="2692182681" sldId="272"/>
            <ac:picMk id="1028" creationId="{791DF8C3-937E-C11C-A974-E8523E47BAE2}"/>
          </ac:picMkLst>
        </pc:picChg>
        <pc:picChg chg="add mod">
          <ac:chgData name="Ewen Trafford" userId="e520b4bf-a196-48b7-bc10-b1590a457daa" providerId="ADAL" clId="{05788973-7309-4AE3-B87B-090DFAFD9016}" dt="2022-11-11T13:11:35.547" v="104" actId="1076"/>
          <ac:picMkLst>
            <pc:docMk/>
            <pc:sldMk cId="2692182681" sldId="272"/>
            <ac:picMk id="1030" creationId="{DE61A7DA-59C3-6EC3-A7D3-EB064931E63D}"/>
          </ac:picMkLst>
        </pc:picChg>
      </pc:sldChg>
      <pc:sldChg chg="addSp delSp modSp mod">
        <pc:chgData name="Ewen Trafford" userId="e520b4bf-a196-48b7-bc10-b1590a457daa" providerId="ADAL" clId="{05788973-7309-4AE3-B87B-090DFAFD9016}" dt="2022-11-11T13:12:31.647" v="111" actId="1076"/>
        <pc:sldMkLst>
          <pc:docMk/>
          <pc:sldMk cId="2953654632" sldId="273"/>
        </pc:sldMkLst>
        <pc:picChg chg="del">
          <ac:chgData name="Ewen Trafford" userId="e520b4bf-a196-48b7-bc10-b1590a457daa" providerId="ADAL" clId="{05788973-7309-4AE3-B87B-090DFAFD9016}" dt="2022-11-11T11:33:36.847" v="44" actId="478"/>
          <ac:picMkLst>
            <pc:docMk/>
            <pc:sldMk cId="2953654632" sldId="273"/>
            <ac:picMk id="4" creationId="{00000000-0000-0000-0000-000000000000}"/>
          </ac:picMkLst>
        </pc:picChg>
        <pc:picChg chg="add mod">
          <ac:chgData name="Ewen Trafford" userId="e520b4bf-a196-48b7-bc10-b1590a457daa" providerId="ADAL" clId="{05788973-7309-4AE3-B87B-090DFAFD9016}" dt="2022-11-11T13:12:31.647" v="111" actId="1076"/>
          <ac:picMkLst>
            <pc:docMk/>
            <pc:sldMk cId="2953654632" sldId="273"/>
            <ac:picMk id="6" creationId="{5A650B60-BAD1-991F-5C3F-A63BC09C31CF}"/>
          </ac:picMkLst>
        </pc:picChg>
      </pc:sldChg>
      <pc:sldChg chg="addSp delSp modSp mod">
        <pc:chgData name="Ewen Trafford" userId="e520b4bf-a196-48b7-bc10-b1590a457daa" providerId="ADAL" clId="{05788973-7309-4AE3-B87B-090DFAFD9016}" dt="2022-11-11T13:13:26.157" v="120" actId="1076"/>
        <pc:sldMkLst>
          <pc:docMk/>
          <pc:sldMk cId="3634908671" sldId="275"/>
        </pc:sldMkLst>
        <pc:picChg chg="add mod">
          <ac:chgData name="Ewen Trafford" userId="e520b4bf-a196-48b7-bc10-b1590a457daa" providerId="ADAL" clId="{05788973-7309-4AE3-B87B-090DFAFD9016}" dt="2022-11-11T13:13:26.157" v="120" actId="1076"/>
          <ac:picMkLst>
            <pc:docMk/>
            <pc:sldMk cId="3634908671" sldId="275"/>
            <ac:picMk id="5" creationId="{4084E2DC-0169-9880-1516-2826B1D25D68}"/>
          </ac:picMkLst>
        </pc:picChg>
        <pc:picChg chg="del">
          <ac:chgData name="Ewen Trafford" userId="e520b4bf-a196-48b7-bc10-b1590a457daa" providerId="ADAL" clId="{05788973-7309-4AE3-B87B-090DFAFD9016}" dt="2022-11-11T11:33:39.330" v="45" actId="478"/>
          <ac:picMkLst>
            <pc:docMk/>
            <pc:sldMk cId="3634908671" sldId="275"/>
            <ac:picMk id="1026" creationId="{00000000-0000-0000-0000-000000000000}"/>
          </ac:picMkLst>
        </pc:picChg>
      </pc:sldChg>
      <pc:sldChg chg="addSp delSp modSp mod">
        <pc:chgData name="Ewen Trafford" userId="e520b4bf-a196-48b7-bc10-b1590a457daa" providerId="ADAL" clId="{05788973-7309-4AE3-B87B-090DFAFD9016}" dt="2022-11-11T13:09:26.958" v="90" actId="1076"/>
        <pc:sldMkLst>
          <pc:docMk/>
          <pc:sldMk cId="1203487972" sldId="279"/>
        </pc:sldMkLst>
        <pc:picChg chg="del">
          <ac:chgData name="Ewen Trafford" userId="e520b4bf-a196-48b7-bc10-b1590a457daa" providerId="ADAL" clId="{05788973-7309-4AE3-B87B-090DFAFD9016}" dt="2022-11-11T13:08:25.251" v="84" actId="478"/>
          <ac:picMkLst>
            <pc:docMk/>
            <pc:sldMk cId="1203487972" sldId="279"/>
            <ac:picMk id="5" creationId="{00000000-0000-0000-0000-000000000000}"/>
          </ac:picMkLst>
        </pc:picChg>
        <pc:picChg chg="add mod">
          <ac:chgData name="Ewen Trafford" userId="e520b4bf-a196-48b7-bc10-b1590a457daa" providerId="ADAL" clId="{05788973-7309-4AE3-B87B-090DFAFD9016}" dt="2022-11-11T13:09:26.958" v="90" actId="1076"/>
          <ac:picMkLst>
            <pc:docMk/>
            <pc:sldMk cId="1203487972" sldId="279"/>
            <ac:picMk id="7" creationId="{4D3B5BB3-B79F-9BC6-799A-87CD7B9AA002}"/>
          </ac:picMkLst>
        </pc:picChg>
      </pc:sldChg>
      <pc:sldChg chg="delSp mod">
        <pc:chgData name="Ewen Trafford" userId="e520b4bf-a196-48b7-bc10-b1590a457daa" providerId="ADAL" clId="{05788973-7309-4AE3-B87B-090DFAFD9016}" dt="2022-11-11T11:33:40.644" v="46" actId="478"/>
        <pc:sldMkLst>
          <pc:docMk/>
          <pc:sldMk cId="2004069953" sldId="280"/>
        </pc:sldMkLst>
        <pc:picChg chg="del">
          <ac:chgData name="Ewen Trafford" userId="e520b4bf-a196-48b7-bc10-b1590a457daa" providerId="ADAL" clId="{05788973-7309-4AE3-B87B-090DFAFD9016}" dt="2022-11-11T11:33:40.644" v="46" actId="478"/>
          <ac:picMkLst>
            <pc:docMk/>
            <pc:sldMk cId="2004069953" sldId="280"/>
            <ac:picMk id="4" creationId="{00000000-0000-0000-0000-000000000000}"/>
          </ac:picMkLst>
        </pc:picChg>
      </pc:sldChg>
      <pc:sldChg chg="addSp delSp modSp mod">
        <pc:chgData name="Ewen Trafford" userId="e520b4bf-a196-48b7-bc10-b1590a457daa" providerId="ADAL" clId="{05788973-7309-4AE3-B87B-090DFAFD9016}" dt="2022-11-11T13:13:56.931" v="125" actId="1076"/>
        <pc:sldMkLst>
          <pc:docMk/>
          <pc:sldMk cId="234356088" sldId="281"/>
        </pc:sldMkLst>
        <pc:picChg chg="add mod">
          <ac:chgData name="Ewen Trafford" userId="e520b4bf-a196-48b7-bc10-b1590a457daa" providerId="ADAL" clId="{05788973-7309-4AE3-B87B-090DFAFD9016}" dt="2022-11-11T13:13:56.931" v="125" actId="1076"/>
          <ac:picMkLst>
            <pc:docMk/>
            <pc:sldMk cId="234356088" sldId="281"/>
            <ac:picMk id="5" creationId="{1ED316B2-6316-C098-6C7F-795980A95FF7}"/>
          </ac:picMkLst>
        </pc:picChg>
        <pc:picChg chg="del">
          <ac:chgData name="Ewen Trafford" userId="e520b4bf-a196-48b7-bc10-b1590a457daa" providerId="ADAL" clId="{05788973-7309-4AE3-B87B-090DFAFD9016}" dt="2022-11-11T11:33:44.604" v="47" actId="478"/>
          <ac:picMkLst>
            <pc:docMk/>
            <pc:sldMk cId="234356088" sldId="281"/>
            <ac:picMk id="2050" creationId="{00000000-0000-0000-0000-000000000000}"/>
          </ac:picMkLst>
        </pc:picChg>
      </pc:sldChg>
      <pc:sldChg chg="delSp mod">
        <pc:chgData name="Ewen Trafford" userId="e520b4bf-a196-48b7-bc10-b1590a457daa" providerId="ADAL" clId="{05788973-7309-4AE3-B87B-090DFAFD9016}" dt="2022-11-11T11:33:45.975" v="48" actId="478"/>
        <pc:sldMkLst>
          <pc:docMk/>
          <pc:sldMk cId="4072157046" sldId="282"/>
        </pc:sldMkLst>
        <pc:picChg chg="del">
          <ac:chgData name="Ewen Trafford" userId="e520b4bf-a196-48b7-bc10-b1590a457daa" providerId="ADAL" clId="{05788973-7309-4AE3-B87B-090DFAFD9016}" dt="2022-11-11T11:33:45.975" v="48" actId="478"/>
          <ac:picMkLst>
            <pc:docMk/>
            <pc:sldMk cId="4072157046" sldId="282"/>
            <ac:picMk id="4" creationId="{00000000-0000-0000-0000-000000000000}"/>
          </ac:picMkLst>
        </pc:picChg>
      </pc:sldChg>
      <pc:sldChg chg="delSp mod">
        <pc:chgData name="Ewen Trafford" userId="e520b4bf-a196-48b7-bc10-b1590a457daa" providerId="ADAL" clId="{05788973-7309-4AE3-B87B-090DFAFD9016}" dt="2022-11-11T11:33:48.056" v="50" actId="478"/>
        <pc:sldMkLst>
          <pc:docMk/>
          <pc:sldMk cId="2601967027" sldId="283"/>
        </pc:sldMkLst>
        <pc:picChg chg="del">
          <ac:chgData name="Ewen Trafford" userId="e520b4bf-a196-48b7-bc10-b1590a457daa" providerId="ADAL" clId="{05788973-7309-4AE3-B87B-090DFAFD9016}" dt="2022-11-11T11:33:47.600" v="49" actId="478"/>
          <ac:picMkLst>
            <pc:docMk/>
            <pc:sldMk cId="2601967027" sldId="283"/>
            <ac:picMk id="4" creationId="{00000000-0000-0000-0000-000000000000}"/>
          </ac:picMkLst>
        </pc:picChg>
        <pc:picChg chg="del">
          <ac:chgData name="Ewen Trafford" userId="e520b4bf-a196-48b7-bc10-b1590a457daa" providerId="ADAL" clId="{05788973-7309-4AE3-B87B-090DFAFD9016}" dt="2022-11-11T11:33:48.056" v="50" actId="478"/>
          <ac:picMkLst>
            <pc:docMk/>
            <pc:sldMk cId="2601967027" sldId="283"/>
            <ac:picMk id="5" creationId="{00000000-0000-0000-0000-000000000000}"/>
          </ac:picMkLst>
        </pc:picChg>
      </pc:sldChg>
      <pc:sldChg chg="addSp modSp mod">
        <pc:chgData name="Ewen Trafford" userId="e520b4bf-a196-48b7-bc10-b1590a457daa" providerId="ADAL" clId="{05788973-7309-4AE3-B87B-090DFAFD9016}" dt="2022-11-11T13:07:27.102" v="75" actId="1076"/>
        <pc:sldMkLst>
          <pc:docMk/>
          <pc:sldMk cId="3066067810" sldId="315"/>
        </pc:sldMkLst>
        <pc:spChg chg="mod">
          <ac:chgData name="Ewen Trafford" userId="e520b4bf-a196-48b7-bc10-b1590a457daa" providerId="ADAL" clId="{05788973-7309-4AE3-B87B-090DFAFD9016}" dt="2022-11-11T13:07:21.601" v="72" actId="14100"/>
          <ac:spMkLst>
            <pc:docMk/>
            <pc:sldMk cId="3066067810" sldId="315"/>
            <ac:spMk id="3" creationId="{78101E67-B0F1-726C-7F13-95384EA7B94E}"/>
          </ac:spMkLst>
        </pc:spChg>
        <pc:picChg chg="add mod">
          <ac:chgData name="Ewen Trafford" userId="e520b4bf-a196-48b7-bc10-b1590a457daa" providerId="ADAL" clId="{05788973-7309-4AE3-B87B-090DFAFD9016}" dt="2022-11-11T13:07:27.102" v="75" actId="1076"/>
          <ac:picMkLst>
            <pc:docMk/>
            <pc:sldMk cId="3066067810" sldId="315"/>
            <ac:picMk id="5" creationId="{AEEBD77E-5BAD-C774-5D1A-CE9D5916B051}"/>
          </ac:picMkLst>
        </pc:picChg>
      </pc:sldChg>
      <pc:sldChg chg="modSp mod">
        <pc:chgData name="Ewen Trafford" userId="e520b4bf-a196-48b7-bc10-b1590a457daa" providerId="ADAL" clId="{05788973-7309-4AE3-B87B-090DFAFD9016}" dt="2022-11-11T11:33:23.892" v="39" actId="13926"/>
        <pc:sldMkLst>
          <pc:docMk/>
          <pc:sldMk cId="2450036879" sldId="324"/>
        </pc:sldMkLst>
        <pc:spChg chg="mod">
          <ac:chgData name="Ewen Trafford" userId="e520b4bf-a196-48b7-bc10-b1590a457daa" providerId="ADAL" clId="{05788973-7309-4AE3-B87B-090DFAFD9016}" dt="2022-11-11T11:33:23.892" v="39" actId="13926"/>
          <ac:spMkLst>
            <pc:docMk/>
            <pc:sldMk cId="2450036879" sldId="324"/>
            <ac:spMk id="2" creationId="{8549F38A-2811-8A0A-0903-F90C6CA9F351}"/>
          </ac:spMkLst>
        </pc:spChg>
      </pc:sldChg>
      <pc:sldChg chg="modSp mod">
        <pc:chgData name="Ewen Trafford" userId="e520b4bf-a196-48b7-bc10-b1590a457daa" providerId="ADAL" clId="{05788973-7309-4AE3-B87B-090DFAFD9016}" dt="2022-11-11T13:06:08.559" v="63" actId="1076"/>
        <pc:sldMkLst>
          <pc:docMk/>
          <pc:sldMk cId="3879642264" sldId="347"/>
        </pc:sldMkLst>
        <pc:graphicFrameChg chg="mod modGraphic">
          <ac:chgData name="Ewen Trafford" userId="e520b4bf-a196-48b7-bc10-b1590a457daa" providerId="ADAL" clId="{05788973-7309-4AE3-B87B-090DFAFD9016}" dt="2022-11-11T13:06:08.559" v="63" actId="1076"/>
          <ac:graphicFrameMkLst>
            <pc:docMk/>
            <pc:sldMk cId="3879642264" sldId="347"/>
            <ac:graphicFrameMk id="3" creationId="{126CC50F-BB50-8FDD-9BCB-0F60A8DA8D84}"/>
          </ac:graphicFrameMkLst>
        </pc:graphicFrameChg>
      </pc:sldChg>
      <pc:sldChg chg="delSp modSp mod">
        <pc:chgData name="Ewen Trafford" userId="e520b4bf-a196-48b7-bc10-b1590a457daa" providerId="ADAL" clId="{05788973-7309-4AE3-B87B-090DFAFD9016}" dt="2022-11-11T13:07:38.473" v="76" actId="14100"/>
        <pc:sldMkLst>
          <pc:docMk/>
          <pc:sldMk cId="142216269" sldId="351"/>
        </pc:sldMkLst>
        <pc:spChg chg="mod">
          <ac:chgData name="Ewen Trafford" userId="e520b4bf-a196-48b7-bc10-b1590a457daa" providerId="ADAL" clId="{05788973-7309-4AE3-B87B-090DFAFD9016}" dt="2022-11-11T13:07:38.473" v="76" actId="14100"/>
          <ac:spMkLst>
            <pc:docMk/>
            <pc:sldMk cId="142216269" sldId="351"/>
            <ac:spMk id="3" creationId="{00000000-0000-0000-0000-000000000000}"/>
          </ac:spMkLst>
        </pc:spChg>
        <pc:picChg chg="del">
          <ac:chgData name="Ewen Trafford" userId="e520b4bf-a196-48b7-bc10-b1590a457daa" providerId="ADAL" clId="{05788973-7309-4AE3-B87B-090DFAFD9016}" dt="2022-11-11T11:33:27.252" v="40" actId="478"/>
          <ac:picMkLst>
            <pc:docMk/>
            <pc:sldMk cId="142216269" sldId="351"/>
            <ac:picMk id="4" creationId="{00000000-0000-0000-0000-000000000000}"/>
          </ac:picMkLst>
        </pc:picChg>
      </pc:sldChg>
      <pc:sldChg chg="addSp modSp mod">
        <pc:chgData name="Ewen Trafford" userId="e520b4bf-a196-48b7-bc10-b1590a457daa" providerId="ADAL" clId="{05788973-7309-4AE3-B87B-090DFAFD9016}" dt="2022-11-11T13:12:43.310" v="115" actId="1076"/>
        <pc:sldMkLst>
          <pc:docMk/>
          <pc:sldMk cId="3282227446" sldId="352"/>
        </pc:sldMkLst>
        <pc:picChg chg="add mod">
          <ac:chgData name="Ewen Trafford" userId="e520b4bf-a196-48b7-bc10-b1590a457daa" providerId="ADAL" clId="{05788973-7309-4AE3-B87B-090DFAFD9016}" dt="2022-11-11T13:12:43.310" v="115" actId="1076"/>
          <ac:picMkLst>
            <pc:docMk/>
            <pc:sldMk cId="3282227446" sldId="352"/>
            <ac:picMk id="6" creationId="{BEE80B02-A3F4-78F3-A30C-B6AE9706B988}"/>
          </ac:picMkLst>
        </pc:picChg>
      </pc:sldChg>
      <pc:sldChg chg="modSp mod">
        <pc:chgData name="Ewen Trafford" userId="e520b4bf-a196-48b7-bc10-b1590a457daa" providerId="ADAL" clId="{05788973-7309-4AE3-B87B-090DFAFD9016}" dt="2022-11-11T11:30:37.222" v="3" actId="20577"/>
        <pc:sldMkLst>
          <pc:docMk/>
          <pc:sldMk cId="3475692781" sldId="353"/>
        </pc:sldMkLst>
        <pc:spChg chg="mod">
          <ac:chgData name="Ewen Trafford" userId="e520b4bf-a196-48b7-bc10-b1590a457daa" providerId="ADAL" clId="{05788973-7309-4AE3-B87B-090DFAFD9016}" dt="2022-11-11T11:30:37.222" v="3" actId="20577"/>
          <ac:spMkLst>
            <pc:docMk/>
            <pc:sldMk cId="3475692781" sldId="353"/>
            <ac:spMk id="3" creationId="{00000000-0000-0000-0000-000000000000}"/>
          </ac:spMkLst>
        </pc:spChg>
      </pc:sldChg>
      <pc:sldChg chg="addSp modSp mod">
        <pc:chgData name="Ewen Trafford" userId="e520b4bf-a196-48b7-bc10-b1590a457daa" providerId="ADAL" clId="{05788973-7309-4AE3-B87B-090DFAFD9016}" dt="2022-11-11T13:05:40.411" v="58" actId="1076"/>
        <pc:sldMkLst>
          <pc:docMk/>
          <pc:sldMk cId="3186897737" sldId="358"/>
        </pc:sldMkLst>
        <pc:spChg chg="mod">
          <ac:chgData name="Ewen Trafford" userId="e520b4bf-a196-48b7-bc10-b1590a457daa" providerId="ADAL" clId="{05788973-7309-4AE3-B87B-090DFAFD9016}" dt="2022-11-11T13:05:36.204" v="55" actId="14100"/>
          <ac:spMkLst>
            <pc:docMk/>
            <pc:sldMk cId="3186897737" sldId="358"/>
            <ac:spMk id="3" creationId="{00000000-0000-0000-0000-000000000000}"/>
          </ac:spMkLst>
        </pc:spChg>
        <pc:picChg chg="add mod">
          <ac:chgData name="Ewen Trafford" userId="e520b4bf-a196-48b7-bc10-b1590a457daa" providerId="ADAL" clId="{05788973-7309-4AE3-B87B-090DFAFD9016}" dt="2022-11-11T13:05:40.411" v="58" actId="1076"/>
          <ac:picMkLst>
            <pc:docMk/>
            <pc:sldMk cId="3186897737" sldId="358"/>
            <ac:picMk id="5" creationId="{16387038-D368-A9B1-72AE-56582771F4C0}"/>
          </ac:picMkLst>
        </pc:picChg>
      </pc:sldChg>
      <pc:sldChg chg="delSp mod">
        <pc:chgData name="Ewen Trafford" userId="e520b4bf-a196-48b7-bc10-b1590a457daa" providerId="ADAL" clId="{05788973-7309-4AE3-B87B-090DFAFD9016}" dt="2022-11-11T11:32:47.613" v="30" actId="478"/>
        <pc:sldMkLst>
          <pc:docMk/>
          <pc:sldMk cId="1200229904" sldId="359"/>
        </pc:sldMkLst>
        <pc:picChg chg="del">
          <ac:chgData name="Ewen Trafford" userId="e520b4bf-a196-48b7-bc10-b1590a457daa" providerId="ADAL" clId="{05788973-7309-4AE3-B87B-090DFAFD9016}" dt="2022-11-11T11:32:47.613" v="30" actId="478"/>
          <ac:picMkLst>
            <pc:docMk/>
            <pc:sldMk cId="1200229904" sldId="359"/>
            <ac:picMk id="4" creationId="{00000000-0000-0000-0000-000000000000}"/>
          </ac:picMkLst>
        </pc:picChg>
      </pc:sldChg>
      <pc:sldChg chg="addSp delSp modSp mod">
        <pc:chgData name="Ewen Trafford" userId="e520b4bf-a196-48b7-bc10-b1590a457daa" providerId="ADAL" clId="{05788973-7309-4AE3-B87B-090DFAFD9016}" dt="2022-11-11T11:31:07.113" v="7" actId="732"/>
        <pc:sldMkLst>
          <pc:docMk/>
          <pc:sldMk cId="2466274319" sldId="362"/>
        </pc:sldMkLst>
        <pc:picChg chg="add mod modCrop">
          <ac:chgData name="Ewen Trafford" userId="e520b4bf-a196-48b7-bc10-b1590a457daa" providerId="ADAL" clId="{05788973-7309-4AE3-B87B-090DFAFD9016}" dt="2022-11-11T11:31:07.113" v="7" actId="732"/>
          <ac:picMkLst>
            <pc:docMk/>
            <pc:sldMk cId="2466274319" sldId="362"/>
            <ac:picMk id="4" creationId="{4BF03EBE-78B9-E9B3-5B92-886240B6F377}"/>
          </ac:picMkLst>
        </pc:picChg>
        <pc:picChg chg="del">
          <ac:chgData name="Ewen Trafford" userId="e520b4bf-a196-48b7-bc10-b1590a457daa" providerId="ADAL" clId="{05788973-7309-4AE3-B87B-090DFAFD9016}" dt="2022-11-11T11:30:39.916" v="4" actId="478"/>
          <ac:picMkLst>
            <pc:docMk/>
            <pc:sldMk cId="2466274319" sldId="362"/>
            <ac:picMk id="6" creationId="{CD8D1320-91AE-FAEC-71E8-FDF3130F448E}"/>
          </ac:picMkLst>
        </pc:picChg>
      </pc:sldChg>
      <pc:sldChg chg="addSp modSp mod">
        <pc:chgData name="Ewen Trafford" userId="e520b4bf-a196-48b7-bc10-b1590a457daa" providerId="ADAL" clId="{05788973-7309-4AE3-B87B-090DFAFD9016}" dt="2022-11-11T13:06:33.683" v="66" actId="1076"/>
        <pc:sldMkLst>
          <pc:docMk/>
          <pc:sldMk cId="2815125932" sldId="364"/>
        </pc:sldMkLst>
        <pc:spChg chg="mod">
          <ac:chgData name="Ewen Trafford" userId="e520b4bf-a196-48b7-bc10-b1590a457daa" providerId="ADAL" clId="{05788973-7309-4AE3-B87B-090DFAFD9016}" dt="2022-11-11T13:06:15.353" v="64" actId="20577"/>
          <ac:spMkLst>
            <pc:docMk/>
            <pc:sldMk cId="2815125932" sldId="364"/>
            <ac:spMk id="3" creationId="{871FADD7-5CFD-68C9-851C-B6F4AD15AF0A}"/>
          </ac:spMkLst>
        </pc:spChg>
        <pc:picChg chg="add mod">
          <ac:chgData name="Ewen Trafford" userId="e520b4bf-a196-48b7-bc10-b1590a457daa" providerId="ADAL" clId="{05788973-7309-4AE3-B87B-090DFAFD9016}" dt="2022-11-11T13:06:33.683" v="66" actId="1076"/>
          <ac:picMkLst>
            <pc:docMk/>
            <pc:sldMk cId="2815125932" sldId="364"/>
            <ac:picMk id="5" creationId="{C010D4A2-08D6-5500-8EBC-D661FF2AAA64}"/>
          </ac:picMkLst>
        </pc:picChg>
      </pc:sldChg>
      <pc:sldChg chg="modSp mod">
        <pc:chgData name="Ewen Trafford" userId="e520b4bf-a196-48b7-bc10-b1590a457daa" providerId="ADAL" clId="{05788973-7309-4AE3-B87B-090DFAFD9016}" dt="2022-11-11T11:32:40.962" v="28" actId="1076"/>
        <pc:sldMkLst>
          <pc:docMk/>
          <pc:sldMk cId="1093456135" sldId="367"/>
        </pc:sldMkLst>
        <pc:spChg chg="mod">
          <ac:chgData name="Ewen Trafford" userId="e520b4bf-a196-48b7-bc10-b1590a457daa" providerId="ADAL" clId="{05788973-7309-4AE3-B87B-090DFAFD9016}" dt="2022-11-11T11:32:40.962" v="28" actId="1076"/>
          <ac:spMkLst>
            <pc:docMk/>
            <pc:sldMk cId="1093456135" sldId="367"/>
            <ac:spMk id="3" creationId="{7BD284BD-A6B6-E450-9864-294639781BA9}"/>
          </ac:spMkLst>
        </pc:spChg>
        <pc:spChg chg="mod">
          <ac:chgData name="Ewen Trafford" userId="e520b4bf-a196-48b7-bc10-b1590a457daa" providerId="ADAL" clId="{05788973-7309-4AE3-B87B-090DFAFD9016}" dt="2022-11-11T11:32:40.962" v="28" actId="1076"/>
          <ac:spMkLst>
            <pc:docMk/>
            <pc:sldMk cId="1093456135" sldId="367"/>
            <ac:spMk id="5" creationId="{2AC8F5E2-59C5-3C71-C02F-966BA7554B49}"/>
          </ac:spMkLst>
        </pc:spChg>
        <pc:spChg chg="mod">
          <ac:chgData name="Ewen Trafford" userId="e520b4bf-a196-48b7-bc10-b1590a457daa" providerId="ADAL" clId="{05788973-7309-4AE3-B87B-090DFAFD9016}" dt="2022-11-11T11:32:40.962" v="28" actId="1076"/>
          <ac:spMkLst>
            <pc:docMk/>
            <pc:sldMk cId="1093456135" sldId="367"/>
            <ac:spMk id="6" creationId="{D30D00A2-2C4E-C594-518F-191EE2A765D0}"/>
          </ac:spMkLst>
        </pc:spChg>
        <pc:spChg chg="mod">
          <ac:chgData name="Ewen Trafford" userId="e520b4bf-a196-48b7-bc10-b1590a457daa" providerId="ADAL" clId="{05788973-7309-4AE3-B87B-090DFAFD9016}" dt="2022-11-11T11:32:40.962" v="28" actId="1076"/>
          <ac:spMkLst>
            <pc:docMk/>
            <pc:sldMk cId="1093456135" sldId="367"/>
            <ac:spMk id="7" creationId="{5CF66D41-BAE4-99BC-B5E1-C517F6033D1F}"/>
          </ac:spMkLst>
        </pc:spChg>
        <pc:spChg chg="mod">
          <ac:chgData name="Ewen Trafford" userId="e520b4bf-a196-48b7-bc10-b1590a457daa" providerId="ADAL" clId="{05788973-7309-4AE3-B87B-090DFAFD9016}" dt="2022-11-11T11:32:40.962" v="28" actId="1076"/>
          <ac:spMkLst>
            <pc:docMk/>
            <pc:sldMk cId="1093456135" sldId="367"/>
            <ac:spMk id="8" creationId="{0E3BAB77-A92D-4ED5-37F1-B9E9F4161102}"/>
          </ac:spMkLst>
        </pc:spChg>
        <pc:spChg chg="mod">
          <ac:chgData name="Ewen Trafford" userId="e520b4bf-a196-48b7-bc10-b1590a457daa" providerId="ADAL" clId="{05788973-7309-4AE3-B87B-090DFAFD9016}" dt="2022-11-11T11:32:40.962" v="28" actId="1076"/>
          <ac:spMkLst>
            <pc:docMk/>
            <pc:sldMk cId="1093456135" sldId="367"/>
            <ac:spMk id="9" creationId="{5EE56FB6-3308-8B6B-1179-0B24F6EF2C07}"/>
          </ac:spMkLst>
        </pc:spChg>
        <pc:spChg chg="mod">
          <ac:chgData name="Ewen Trafford" userId="e520b4bf-a196-48b7-bc10-b1590a457daa" providerId="ADAL" clId="{05788973-7309-4AE3-B87B-090DFAFD9016}" dt="2022-11-11T11:32:40.962" v="28" actId="1076"/>
          <ac:spMkLst>
            <pc:docMk/>
            <pc:sldMk cId="1093456135" sldId="367"/>
            <ac:spMk id="10" creationId="{EACE853F-70DA-904B-8A74-4A516F6A0863}"/>
          </ac:spMkLst>
        </pc:spChg>
        <pc:spChg chg="mod">
          <ac:chgData name="Ewen Trafford" userId="e520b4bf-a196-48b7-bc10-b1590a457daa" providerId="ADAL" clId="{05788973-7309-4AE3-B87B-090DFAFD9016}" dt="2022-11-11T11:32:40.962" v="28" actId="1076"/>
          <ac:spMkLst>
            <pc:docMk/>
            <pc:sldMk cId="1093456135" sldId="367"/>
            <ac:spMk id="11" creationId="{F31C64B7-0E18-3A85-6CAB-6B357D7ACA99}"/>
          </ac:spMkLst>
        </pc:spChg>
      </pc:sldChg>
    </pc:docChg>
  </pc:docChgLst>
  <pc:docChgLst>
    <pc:chgData name="Guest User" userId="S::urn:spo:anon#5c1cd7b39cb30a75ca1cea0fb2ba435992d6c6a6b484349a9ca7505025227c67::" providerId="AD" clId="Web-{1D1D411A-8275-DB23-6E41-6CDACB55E66B}"/>
    <pc:docChg chg="addSld modSld">
      <pc:chgData name="Guest User" userId="S::urn:spo:anon#5c1cd7b39cb30a75ca1cea0fb2ba435992d6c6a6b484349a9ca7505025227c67::" providerId="AD" clId="Web-{1D1D411A-8275-DB23-6E41-6CDACB55E66B}" dt="2022-07-12T11:43:11.363" v="591"/>
      <pc:docMkLst>
        <pc:docMk/>
      </pc:docMkLst>
      <pc:sldChg chg="modSp">
        <pc:chgData name="Guest User" userId="S::urn:spo:anon#5c1cd7b39cb30a75ca1cea0fb2ba435992d6c6a6b484349a9ca7505025227c67::" providerId="AD" clId="Web-{1D1D411A-8275-DB23-6E41-6CDACB55E66B}" dt="2022-07-12T08:54:23.051" v="1" actId="20577"/>
        <pc:sldMkLst>
          <pc:docMk/>
          <pc:sldMk cId="3137792006" sldId="277"/>
        </pc:sldMkLst>
        <pc:spChg chg="mod">
          <ac:chgData name="Guest User" userId="S::urn:spo:anon#5c1cd7b39cb30a75ca1cea0fb2ba435992d6c6a6b484349a9ca7505025227c67::" providerId="AD" clId="Web-{1D1D411A-8275-DB23-6E41-6CDACB55E66B}" dt="2022-07-12T08:54:23.051" v="1" actId="20577"/>
          <ac:spMkLst>
            <pc:docMk/>
            <pc:sldMk cId="3137792006" sldId="277"/>
            <ac:spMk id="3" creationId="{00000000-0000-0000-0000-000000000000}"/>
          </ac:spMkLst>
        </pc:spChg>
      </pc:sldChg>
      <pc:sldChg chg="modSp">
        <pc:chgData name="Guest User" userId="S::urn:spo:anon#5c1cd7b39cb30a75ca1cea0fb2ba435992d6c6a6b484349a9ca7505025227c67::" providerId="AD" clId="Web-{1D1D411A-8275-DB23-6E41-6CDACB55E66B}" dt="2022-07-12T10:50:21.414" v="22" actId="20577"/>
        <pc:sldMkLst>
          <pc:docMk/>
          <pc:sldMk cId="4146092675" sldId="301"/>
        </pc:sldMkLst>
        <pc:spChg chg="mod">
          <ac:chgData name="Guest User" userId="S::urn:spo:anon#5c1cd7b39cb30a75ca1cea0fb2ba435992d6c6a6b484349a9ca7505025227c67::" providerId="AD" clId="Web-{1D1D411A-8275-DB23-6E41-6CDACB55E66B}" dt="2022-07-12T10:50:21.414" v="22" actId="20577"/>
          <ac:spMkLst>
            <pc:docMk/>
            <pc:sldMk cId="4146092675" sldId="301"/>
            <ac:spMk id="4" creationId="{AD0D0778-949E-4414-BC9B-77E033DFFAA2}"/>
          </ac:spMkLst>
        </pc:spChg>
      </pc:sldChg>
      <pc:sldChg chg="modSp">
        <pc:chgData name="Guest User" userId="S::urn:spo:anon#5c1cd7b39cb30a75ca1cea0fb2ba435992d6c6a6b484349a9ca7505025227c67::" providerId="AD" clId="Web-{1D1D411A-8275-DB23-6E41-6CDACB55E66B}" dt="2022-07-12T10:48:32.348" v="18" actId="1076"/>
        <pc:sldMkLst>
          <pc:docMk/>
          <pc:sldMk cId="3209739012" sldId="310"/>
        </pc:sldMkLst>
        <pc:spChg chg="mod">
          <ac:chgData name="Guest User" userId="S::urn:spo:anon#5c1cd7b39cb30a75ca1cea0fb2ba435992d6c6a6b484349a9ca7505025227c67::" providerId="AD" clId="Web-{1D1D411A-8275-DB23-6E41-6CDACB55E66B}" dt="2022-07-12T10:48:32.348" v="18" actId="1076"/>
          <ac:spMkLst>
            <pc:docMk/>
            <pc:sldMk cId="3209739012" sldId="310"/>
            <ac:spMk id="2" creationId="{ECB39143-43DB-404B-999A-68A64BABF4DE}"/>
          </ac:spMkLst>
        </pc:spChg>
      </pc:sldChg>
      <pc:sldChg chg="addSp delSp modSp new">
        <pc:chgData name="Guest User" userId="S::urn:spo:anon#5c1cd7b39cb30a75ca1cea0fb2ba435992d6c6a6b484349a9ca7505025227c67::" providerId="AD" clId="Web-{1D1D411A-8275-DB23-6E41-6CDACB55E66B}" dt="2022-07-12T11:24:18.488" v="319" actId="1076"/>
        <pc:sldMkLst>
          <pc:docMk/>
          <pc:sldMk cId="1295128182" sldId="323"/>
        </pc:sldMkLst>
        <pc:spChg chg="mod">
          <ac:chgData name="Guest User" userId="S::urn:spo:anon#5c1cd7b39cb30a75ca1cea0fb2ba435992d6c6a6b484349a9ca7505025227c67::" providerId="AD" clId="Web-{1D1D411A-8275-DB23-6E41-6CDACB55E66B}" dt="2022-07-12T10:20:06.435" v="11" actId="20577"/>
          <ac:spMkLst>
            <pc:docMk/>
            <pc:sldMk cId="1295128182" sldId="323"/>
            <ac:spMk id="2" creationId="{2F7E561F-2127-93AD-E5E8-F261FB5AE578}"/>
          </ac:spMkLst>
        </pc:spChg>
        <pc:spChg chg="del mod">
          <ac:chgData name="Guest User" userId="S::urn:spo:anon#5c1cd7b39cb30a75ca1cea0fb2ba435992d6c6a6b484349a9ca7505025227c67::" providerId="AD" clId="Web-{1D1D411A-8275-DB23-6E41-6CDACB55E66B}" dt="2022-07-12T11:07:45.600" v="177"/>
          <ac:spMkLst>
            <pc:docMk/>
            <pc:sldMk cId="1295128182" sldId="323"/>
            <ac:spMk id="3" creationId="{EE92ADC3-30A9-6CAD-E756-BB070B988DAC}"/>
          </ac:spMkLst>
        </pc:spChg>
        <pc:spChg chg="add mod">
          <ac:chgData name="Guest User" userId="S::urn:spo:anon#5c1cd7b39cb30a75ca1cea0fb2ba435992d6c6a6b484349a9ca7505025227c67::" providerId="AD" clId="Web-{1D1D411A-8275-DB23-6E41-6CDACB55E66B}" dt="2022-07-12T10:56:38.175" v="105" actId="20577"/>
          <ac:spMkLst>
            <pc:docMk/>
            <pc:sldMk cId="1295128182" sldId="323"/>
            <ac:spMk id="7" creationId="{BE51C01F-C888-7601-AF8A-1C458D90020A}"/>
          </ac:spMkLst>
        </pc:spChg>
        <pc:spChg chg="add mod">
          <ac:chgData name="Guest User" userId="S::urn:spo:anon#5c1cd7b39cb30a75ca1cea0fb2ba435992d6c6a6b484349a9ca7505025227c67::" providerId="AD" clId="Web-{1D1D411A-8275-DB23-6E41-6CDACB55E66B}" dt="2022-07-12T11:09:11.852" v="184" actId="1076"/>
          <ac:spMkLst>
            <pc:docMk/>
            <pc:sldMk cId="1295128182" sldId="323"/>
            <ac:spMk id="9" creationId="{E6787C31-AB7D-ED7B-C1FB-E3A99EF1458A}"/>
          </ac:spMkLst>
        </pc:spChg>
        <pc:spChg chg="add mod">
          <ac:chgData name="Guest User" userId="S::urn:spo:anon#5c1cd7b39cb30a75ca1cea0fb2ba435992d6c6a6b484349a9ca7505025227c67::" providerId="AD" clId="Web-{1D1D411A-8275-DB23-6E41-6CDACB55E66B}" dt="2022-07-12T11:09:05.711" v="182" actId="1076"/>
          <ac:spMkLst>
            <pc:docMk/>
            <pc:sldMk cId="1295128182" sldId="323"/>
            <ac:spMk id="12" creationId="{ACAB7BCE-3F87-F281-E32F-23286F18B83B}"/>
          </ac:spMkLst>
        </pc:spChg>
        <pc:spChg chg="add del mod">
          <ac:chgData name="Guest User" userId="S::urn:spo:anon#5c1cd7b39cb30a75ca1cea0fb2ba435992d6c6a6b484349a9ca7505025227c67::" providerId="AD" clId="Web-{1D1D411A-8275-DB23-6E41-6CDACB55E66B}" dt="2022-07-12T11:09:01.758" v="181"/>
          <ac:spMkLst>
            <pc:docMk/>
            <pc:sldMk cId="1295128182" sldId="323"/>
            <ac:spMk id="14" creationId="{A5485BD3-9F0A-EC50-F55E-7D36A087E8B1}"/>
          </ac:spMkLst>
        </pc:spChg>
        <pc:spChg chg="add mod">
          <ac:chgData name="Guest User" userId="S::urn:spo:anon#5c1cd7b39cb30a75ca1cea0fb2ba435992d6c6a6b484349a9ca7505025227c67::" providerId="AD" clId="Web-{1D1D411A-8275-DB23-6E41-6CDACB55E66B}" dt="2022-07-12T11:11:25.653" v="192" actId="20577"/>
          <ac:spMkLst>
            <pc:docMk/>
            <pc:sldMk cId="1295128182" sldId="323"/>
            <ac:spMk id="17" creationId="{9008EDF2-18EF-B7E9-26AA-51E6012BB81A}"/>
          </ac:spMkLst>
        </pc:spChg>
        <pc:spChg chg="add mod">
          <ac:chgData name="Guest User" userId="S::urn:spo:anon#5c1cd7b39cb30a75ca1cea0fb2ba435992d6c6a6b484349a9ca7505025227c67::" providerId="AD" clId="Web-{1D1D411A-8275-DB23-6E41-6CDACB55E66B}" dt="2022-07-12T11:18:45.916" v="307" actId="20577"/>
          <ac:spMkLst>
            <pc:docMk/>
            <pc:sldMk cId="1295128182" sldId="323"/>
            <ac:spMk id="18" creationId="{AD7E7EC3-B1E2-11C7-0EF9-54645D9B41CE}"/>
          </ac:spMkLst>
        </pc:spChg>
        <pc:spChg chg="add del mod">
          <ac:chgData name="Guest User" userId="S::urn:spo:anon#5c1cd7b39cb30a75ca1cea0fb2ba435992d6c6a6b484349a9ca7505025227c67::" providerId="AD" clId="Web-{1D1D411A-8275-DB23-6E41-6CDACB55E66B}" dt="2022-07-12T11:16:07.302" v="290"/>
          <ac:spMkLst>
            <pc:docMk/>
            <pc:sldMk cId="1295128182" sldId="323"/>
            <ac:spMk id="19" creationId="{D0C84066-437F-A46F-29A2-864593E54DA5}"/>
          </ac:spMkLst>
        </pc:spChg>
        <pc:picChg chg="add del mod">
          <ac:chgData name="Guest User" userId="S::urn:spo:anon#5c1cd7b39cb30a75ca1cea0fb2ba435992d6c6a6b484349a9ca7505025227c67::" providerId="AD" clId="Web-{1D1D411A-8275-DB23-6E41-6CDACB55E66B}" dt="2022-07-12T11:09:07.743" v="183"/>
          <ac:picMkLst>
            <pc:docMk/>
            <pc:sldMk cId="1295128182" sldId="323"/>
            <ac:picMk id="5" creationId="{7E82FE6C-2704-BA2B-B36C-5A2198D4DA63}"/>
          </ac:picMkLst>
        </pc:picChg>
        <pc:picChg chg="add mod">
          <ac:chgData name="Guest User" userId="S::urn:spo:anon#5c1cd7b39cb30a75ca1cea0fb2ba435992d6c6a6b484349a9ca7505025227c67::" providerId="AD" clId="Web-{1D1D411A-8275-DB23-6E41-6CDACB55E66B}" dt="2022-07-12T11:16:18.864" v="293" actId="1076"/>
          <ac:picMkLst>
            <pc:docMk/>
            <pc:sldMk cId="1295128182" sldId="323"/>
            <ac:picMk id="11" creationId="{7A5C09E1-CEB7-781C-0DCC-3A8283AA8583}"/>
          </ac:picMkLst>
        </pc:picChg>
        <pc:picChg chg="add mod">
          <ac:chgData name="Guest User" userId="S::urn:spo:anon#5c1cd7b39cb30a75ca1cea0fb2ba435992d6c6a6b484349a9ca7505025227c67::" providerId="AD" clId="Web-{1D1D411A-8275-DB23-6E41-6CDACB55E66B}" dt="2022-07-12T11:09:41.619" v="189" actId="1076"/>
          <ac:picMkLst>
            <pc:docMk/>
            <pc:sldMk cId="1295128182" sldId="323"/>
            <ac:picMk id="16" creationId="{FBE7991B-02E9-AEEF-1552-E2EE83FA81E2}"/>
          </ac:picMkLst>
        </pc:picChg>
        <pc:picChg chg="add del mod">
          <ac:chgData name="Guest User" userId="S::urn:spo:anon#5c1cd7b39cb30a75ca1cea0fb2ba435992d6c6a6b484349a9ca7505025227c67::" providerId="AD" clId="Web-{1D1D411A-8275-DB23-6E41-6CDACB55E66B}" dt="2022-07-12T11:23:59.737" v="311"/>
          <ac:picMkLst>
            <pc:docMk/>
            <pc:sldMk cId="1295128182" sldId="323"/>
            <ac:picMk id="21" creationId="{B9C31303-A09F-6DBC-5586-B41E16BEB22C}"/>
          </ac:picMkLst>
        </pc:picChg>
        <pc:picChg chg="add mod">
          <ac:chgData name="Guest User" userId="S::urn:spo:anon#5c1cd7b39cb30a75ca1cea0fb2ba435992d6c6a6b484349a9ca7505025227c67::" providerId="AD" clId="Web-{1D1D411A-8275-DB23-6E41-6CDACB55E66B}" dt="2022-07-12T11:24:18.488" v="319" actId="1076"/>
          <ac:picMkLst>
            <pc:docMk/>
            <pc:sldMk cId="1295128182" sldId="323"/>
            <ac:picMk id="23" creationId="{56D382EA-5F76-FBF0-1CF8-22F19D4D1D52}"/>
          </ac:picMkLst>
        </pc:picChg>
      </pc:sldChg>
      <pc:sldChg chg="addSp delSp modSp new">
        <pc:chgData name="Guest User" userId="S::urn:spo:anon#5c1cd7b39cb30a75ca1cea0fb2ba435992d6c6a6b484349a9ca7505025227c67::" providerId="AD" clId="Web-{1D1D411A-8275-DB23-6E41-6CDACB55E66B}" dt="2022-07-12T11:43:11.363" v="591"/>
        <pc:sldMkLst>
          <pc:docMk/>
          <pc:sldMk cId="2450036879" sldId="324"/>
        </pc:sldMkLst>
        <pc:spChg chg="mod">
          <ac:chgData name="Guest User" userId="S::urn:spo:anon#5c1cd7b39cb30a75ca1cea0fb2ba435992d6c6a6b484349a9ca7505025227c67::" providerId="AD" clId="Web-{1D1D411A-8275-DB23-6E41-6CDACB55E66B}" dt="2022-07-12T10:47:36.643" v="17" actId="20577"/>
          <ac:spMkLst>
            <pc:docMk/>
            <pc:sldMk cId="2450036879" sldId="324"/>
            <ac:spMk id="2" creationId="{8549F38A-2811-8A0A-0903-F90C6CA9F351}"/>
          </ac:spMkLst>
        </pc:spChg>
        <pc:spChg chg="del mod">
          <ac:chgData name="Guest User" userId="S::urn:spo:anon#5c1cd7b39cb30a75ca1cea0fb2ba435992d6c6a6b484349a9ca7505025227c67::" providerId="AD" clId="Web-{1D1D411A-8275-DB23-6E41-6CDACB55E66B}" dt="2022-07-12T11:25:16.302" v="323"/>
          <ac:spMkLst>
            <pc:docMk/>
            <pc:sldMk cId="2450036879" sldId="324"/>
            <ac:spMk id="3" creationId="{27781D9B-4A2E-A492-48D7-E91B5EEF025A}"/>
          </ac:spMkLst>
        </pc:spChg>
        <pc:graphicFrameChg chg="add del mod">
          <ac:chgData name="Guest User" userId="S::urn:spo:anon#5c1cd7b39cb30a75ca1cea0fb2ba435992d6c6a6b484349a9ca7505025227c67::" providerId="AD" clId="Web-{1D1D411A-8275-DB23-6E41-6CDACB55E66B}" dt="2022-07-12T11:25:12.989" v="322"/>
          <ac:graphicFrameMkLst>
            <pc:docMk/>
            <pc:sldMk cId="2450036879" sldId="324"/>
            <ac:graphicFrameMk id="5" creationId="{235567B3-9644-EAA5-50F2-FD680E95E406}"/>
          </ac:graphicFrameMkLst>
        </pc:graphicFrameChg>
        <pc:graphicFrameChg chg="add mod modGraphic">
          <ac:chgData name="Guest User" userId="S::urn:spo:anon#5c1cd7b39cb30a75ca1cea0fb2ba435992d6c6a6b484349a9ca7505025227c67::" providerId="AD" clId="Web-{1D1D411A-8275-DB23-6E41-6CDACB55E66B}" dt="2022-07-12T11:43:11.363" v="591"/>
          <ac:graphicFrameMkLst>
            <pc:docMk/>
            <pc:sldMk cId="2450036879" sldId="324"/>
            <ac:graphicFrameMk id="7" creationId="{21663884-8A5D-DD9A-B4F0-E1EED248AA0D}"/>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595EDE-C814-4531-BA28-B0829ACBCA95}" type="datetimeFigureOut">
              <a:rPr lang="en-GB" smtClean="0"/>
              <a:t>02/12/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73C9BA-5544-4F63-A48C-49913C4BC280}" type="slidenum">
              <a:rPr lang="en-GB" smtClean="0"/>
              <a:t>‹#›</a:t>
            </a:fld>
            <a:endParaRPr lang="en-GB"/>
          </a:p>
        </p:txBody>
      </p:sp>
    </p:spTree>
    <p:extLst>
      <p:ext uri="{BB962C8B-B14F-4D97-AF65-F5344CB8AC3E}">
        <p14:creationId xmlns:p14="http://schemas.microsoft.com/office/powerpoint/2010/main" val="11508443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3</a:t>
            </a:fld>
            <a:endParaRPr lang="en-GB"/>
          </a:p>
        </p:txBody>
      </p:sp>
    </p:spTree>
    <p:extLst>
      <p:ext uri="{BB962C8B-B14F-4D97-AF65-F5344CB8AC3E}">
        <p14:creationId xmlns:p14="http://schemas.microsoft.com/office/powerpoint/2010/main" val="21626522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4</a:t>
            </a:fld>
            <a:endParaRPr lang="en-GB"/>
          </a:p>
        </p:txBody>
      </p:sp>
    </p:spTree>
    <p:extLst>
      <p:ext uri="{BB962C8B-B14F-4D97-AF65-F5344CB8AC3E}">
        <p14:creationId xmlns:p14="http://schemas.microsoft.com/office/powerpoint/2010/main" val="32115164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5</a:t>
            </a:fld>
            <a:endParaRPr lang="en-GB"/>
          </a:p>
        </p:txBody>
      </p:sp>
    </p:spTree>
    <p:extLst>
      <p:ext uri="{BB962C8B-B14F-4D97-AF65-F5344CB8AC3E}">
        <p14:creationId xmlns:p14="http://schemas.microsoft.com/office/powerpoint/2010/main" val="14985613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7</a:t>
            </a:fld>
            <a:endParaRPr lang="en-GB"/>
          </a:p>
        </p:txBody>
      </p:sp>
    </p:spTree>
    <p:extLst>
      <p:ext uri="{BB962C8B-B14F-4D97-AF65-F5344CB8AC3E}">
        <p14:creationId xmlns:p14="http://schemas.microsoft.com/office/powerpoint/2010/main" val="41252091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573C9BA-5544-4F63-A48C-49913C4BC280}" type="slidenum">
              <a:rPr lang="en-GB" smtClean="0"/>
              <a:t>32</a:t>
            </a:fld>
            <a:endParaRPr lang="en-GB"/>
          </a:p>
        </p:txBody>
      </p:sp>
    </p:spTree>
    <p:extLst>
      <p:ext uri="{BB962C8B-B14F-4D97-AF65-F5344CB8AC3E}">
        <p14:creationId xmlns:p14="http://schemas.microsoft.com/office/powerpoint/2010/main" val="33117162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2452" y="3531477"/>
            <a:ext cx="9144000" cy="733096"/>
          </a:xfrm>
          <a:prstGeom prst="rect">
            <a:avLst/>
          </a:prstGeom>
        </p:spPr>
        <p:txBody>
          <a:bodyPr lIns="0" tIns="0" rIns="0" bIns="0" anchor="t"/>
          <a:lstStyle>
            <a:lvl1pPr algn="l">
              <a:defRPr sz="4400" b="1" i="0" baseline="0">
                <a:solidFill>
                  <a:schemeClr val="bg1"/>
                </a:solidFill>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7410729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53512" y="587760"/>
            <a:ext cx="9144000" cy="635491"/>
          </a:xfrm>
          <a:prstGeom prst="rect">
            <a:avLst/>
          </a:prstGeom>
        </p:spPr>
        <p:txBody>
          <a:bodyPr lIns="0" tIns="0" rIns="0" bIns="0" anchor="t"/>
          <a:lstStyle>
            <a:lvl1pPr algn="l">
              <a:defRPr sz="4000" b="1" i="0">
                <a:solidFill>
                  <a:srgbClr val="EF9F3F"/>
                </a:solidFill>
                <a:latin typeface="Arial" charset="0"/>
                <a:ea typeface="Arial" charset="0"/>
                <a:cs typeface="Arial" charset="0"/>
              </a:defRPr>
            </a:lvl1pPr>
          </a:lstStyle>
          <a:p>
            <a:r>
              <a:rPr lang="en-US"/>
              <a:t>Section Title</a:t>
            </a:r>
          </a:p>
        </p:txBody>
      </p:sp>
      <p:sp>
        <p:nvSpPr>
          <p:cNvPr id="3" name="Subtitle 2"/>
          <p:cNvSpPr>
            <a:spLocks noGrp="1"/>
          </p:cNvSpPr>
          <p:nvPr>
            <p:ph type="subTitle" idx="1" hasCustomPrompt="1"/>
          </p:nvPr>
        </p:nvSpPr>
        <p:spPr>
          <a:xfrm>
            <a:off x="1153512" y="3065488"/>
            <a:ext cx="9144000" cy="3087973"/>
          </a:xfrm>
          <a:prstGeom prst="rect">
            <a:avLst/>
          </a:prstGeom>
        </p:spPr>
        <p:txBody>
          <a:bodyPr lIns="0" tIns="0" rIns="0" bIns="0"/>
          <a:lstStyle>
            <a:lvl1pPr marL="285750" indent="-285750" algn="l">
              <a:buFont typeface="Arial" charset="0"/>
              <a:buChar char="•"/>
              <a:defRPr sz="1800">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a:t>
            </a:r>
          </a:p>
        </p:txBody>
      </p:sp>
    </p:spTree>
    <p:extLst>
      <p:ext uri="{BB962C8B-B14F-4D97-AF65-F5344CB8AC3E}">
        <p14:creationId xmlns:p14="http://schemas.microsoft.com/office/powerpoint/2010/main" val="8237676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69274" y="1563798"/>
            <a:ext cx="9720000" cy="720000"/>
          </a:xfrm>
          <a:prstGeom prst="rect">
            <a:avLst/>
          </a:prstGeom>
        </p:spPr>
        <p:txBody>
          <a:bodyPr lIns="0" tIns="0" rIns="0" bIns="0" anchor="t"/>
          <a:lstStyle>
            <a:lvl1pPr algn="l">
              <a:defRPr sz="3400" b="1" i="0">
                <a:solidFill>
                  <a:srgbClr val="EF9F3F"/>
                </a:solidFill>
                <a:latin typeface="Arial" charset="0"/>
                <a:ea typeface="Arial" charset="0"/>
                <a:cs typeface="Arial" charset="0"/>
              </a:defRPr>
            </a:lvl1pPr>
          </a:lstStyle>
          <a:p>
            <a:r>
              <a:rPr lang="en-US"/>
              <a:t>Heading</a:t>
            </a:r>
          </a:p>
        </p:txBody>
      </p:sp>
      <p:sp>
        <p:nvSpPr>
          <p:cNvPr id="3" name="Subtitle 2"/>
          <p:cNvSpPr>
            <a:spLocks noGrp="1"/>
          </p:cNvSpPr>
          <p:nvPr>
            <p:ph type="subTitle" idx="1" hasCustomPrompt="1"/>
          </p:nvPr>
        </p:nvSpPr>
        <p:spPr>
          <a:xfrm>
            <a:off x="1169276" y="2571092"/>
            <a:ext cx="9720000" cy="3600000"/>
          </a:xfrm>
          <a:prstGeom prst="rect">
            <a:avLst/>
          </a:prstGeom>
        </p:spPr>
        <p:txBody>
          <a:bodyPr lIns="0" tIns="0" rIns="0" bIns="0" numCol="1" anchor="t"/>
          <a:lstStyle>
            <a:lvl1pPr marL="285750" indent="-285750" algn="l">
              <a:buSzPct val="90000"/>
              <a:buFont typeface="Arial" charset="0"/>
              <a:buChar char="•"/>
              <a:defRPr sz="2000" b="0" i="0">
                <a:solidFill>
                  <a:schemeClr val="tx1"/>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 here</a:t>
            </a:r>
          </a:p>
        </p:txBody>
      </p:sp>
    </p:spTree>
    <p:extLst>
      <p:ext uri="{BB962C8B-B14F-4D97-AF65-F5344CB8AC3E}">
        <p14:creationId xmlns:p14="http://schemas.microsoft.com/office/powerpoint/2010/main" val="1551343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sp>
        <p:nvSpPr>
          <p:cNvPr id="12" name="Rectangle 11"/>
          <p:cNvSpPr/>
          <p:nvPr userDrawn="1"/>
        </p:nvSpPr>
        <p:spPr>
          <a:xfrm>
            <a:off x="6209274" y="2571092"/>
            <a:ext cx="4680000" cy="3600000"/>
          </a:xfrm>
          <a:prstGeom prst="rect">
            <a:avLst/>
          </a:prstGeom>
          <a:solidFill>
            <a:srgbClr val="FCE3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 name="Text Placeholder 2"/>
          <p:cNvSpPr>
            <a:spLocks noGrp="1"/>
          </p:cNvSpPr>
          <p:nvPr>
            <p:ph type="body" idx="1" hasCustomPrompt="1"/>
          </p:nvPr>
        </p:nvSpPr>
        <p:spPr>
          <a:xfrm>
            <a:off x="1169276" y="2571092"/>
            <a:ext cx="4680000" cy="3600000"/>
          </a:xfrm>
          <a:prstGeom prst="rect">
            <a:avLst/>
          </a:prstGeom>
        </p:spPr>
        <p:txBody>
          <a:bodyPr lIns="0" tIns="0" rIns="0" bIns="0" anchor="t">
            <a:normAutofit/>
          </a:bodyPr>
          <a:lstStyle>
            <a:lvl1pPr marL="285750" indent="-285750">
              <a:buSzPct val="90000"/>
              <a:buFont typeface="Arial" charset="0"/>
              <a:buChar char="•"/>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Body text</a:t>
            </a:r>
          </a:p>
        </p:txBody>
      </p:sp>
      <p:sp>
        <p:nvSpPr>
          <p:cNvPr id="5" name="Text Placeholder 4"/>
          <p:cNvSpPr>
            <a:spLocks noGrp="1"/>
          </p:cNvSpPr>
          <p:nvPr>
            <p:ph type="body" sz="quarter" idx="3" hasCustomPrompt="1"/>
          </p:nvPr>
        </p:nvSpPr>
        <p:spPr>
          <a:xfrm>
            <a:off x="6398461" y="2760281"/>
            <a:ext cx="4320000" cy="3240000"/>
          </a:xfrm>
          <a:prstGeom prst="rect">
            <a:avLst/>
          </a:prstGeom>
        </p:spPr>
        <p:txBody>
          <a:bodyPr lIns="0" tIns="0" rIns="0" bIns="0" anchor="t">
            <a:normAutofit/>
          </a:bodyPr>
          <a:lstStyle>
            <a:lvl1pPr marL="0" indent="0">
              <a:buNone/>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Body text</a:t>
            </a:r>
          </a:p>
        </p:txBody>
      </p:sp>
      <p:sp>
        <p:nvSpPr>
          <p:cNvPr id="13" name="Title 1"/>
          <p:cNvSpPr>
            <a:spLocks noGrp="1"/>
          </p:cNvSpPr>
          <p:nvPr>
            <p:ph type="title" hasCustomPrompt="1"/>
          </p:nvPr>
        </p:nvSpPr>
        <p:spPr>
          <a:xfrm>
            <a:off x="1169276" y="1563798"/>
            <a:ext cx="9720000" cy="720000"/>
          </a:xfrm>
          <a:prstGeom prst="rect">
            <a:avLst/>
          </a:prstGeom>
        </p:spPr>
        <p:txBody>
          <a:bodyPr lIns="0" tIns="0" rIns="0" bIns="0"/>
          <a:lstStyle>
            <a:lvl1pPr>
              <a:defRPr sz="3400" b="1" i="0">
                <a:solidFill>
                  <a:srgbClr val="EF9F3F"/>
                </a:solidFill>
                <a:latin typeface="Arial" charset="0"/>
                <a:ea typeface="Arial" charset="0"/>
                <a:cs typeface="Arial" charset="0"/>
              </a:defRPr>
            </a:lvl1pPr>
          </a:lstStyle>
          <a:p>
            <a:r>
              <a:rPr lang="en-US" dirty="0"/>
              <a:t>Heading</a:t>
            </a:r>
          </a:p>
        </p:txBody>
      </p:sp>
    </p:spTree>
    <p:extLst>
      <p:ext uri="{BB962C8B-B14F-4D97-AF65-F5344CB8AC3E}">
        <p14:creationId xmlns:p14="http://schemas.microsoft.com/office/powerpoint/2010/main" val="39899018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2" name="Rectangle 11"/>
          <p:cNvSpPr/>
          <p:nvPr userDrawn="1"/>
        </p:nvSpPr>
        <p:spPr>
          <a:xfrm>
            <a:off x="6209274" y="2571092"/>
            <a:ext cx="4680000" cy="3600000"/>
          </a:xfrm>
          <a:prstGeom prst="rect">
            <a:avLst/>
          </a:prstGeom>
          <a:solidFill>
            <a:srgbClr val="FCE3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 name="Text Placeholder 2"/>
          <p:cNvSpPr>
            <a:spLocks noGrp="1"/>
          </p:cNvSpPr>
          <p:nvPr>
            <p:ph type="body" idx="1" hasCustomPrompt="1"/>
          </p:nvPr>
        </p:nvSpPr>
        <p:spPr>
          <a:xfrm>
            <a:off x="1169276" y="2571092"/>
            <a:ext cx="4680000" cy="3600000"/>
          </a:xfrm>
          <a:prstGeom prst="rect">
            <a:avLst/>
          </a:prstGeom>
        </p:spPr>
        <p:txBody>
          <a:bodyPr lIns="0" tIns="0" rIns="0" bIns="0" anchor="t">
            <a:normAutofit/>
          </a:bodyPr>
          <a:lstStyle>
            <a:lvl1pPr marL="285750" indent="-285750">
              <a:buSzPct val="90000"/>
              <a:buFont typeface="Arial" charset="0"/>
              <a:buChar char="•"/>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5" name="Text Placeholder 4"/>
          <p:cNvSpPr>
            <a:spLocks noGrp="1"/>
          </p:cNvSpPr>
          <p:nvPr>
            <p:ph type="body" sz="quarter" idx="3" hasCustomPrompt="1"/>
          </p:nvPr>
        </p:nvSpPr>
        <p:spPr>
          <a:xfrm>
            <a:off x="6398461" y="2760281"/>
            <a:ext cx="4320000" cy="3240000"/>
          </a:xfrm>
          <a:prstGeom prst="rect">
            <a:avLst/>
          </a:prstGeom>
        </p:spPr>
        <p:txBody>
          <a:bodyPr lIns="0" tIns="0" rIns="0" bIns="0" anchor="t">
            <a:normAutofit/>
          </a:bodyPr>
          <a:lstStyle>
            <a:lvl1pPr marL="0" indent="0">
              <a:buNone/>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13" name="Title 1"/>
          <p:cNvSpPr>
            <a:spLocks noGrp="1"/>
          </p:cNvSpPr>
          <p:nvPr>
            <p:ph type="title" hasCustomPrompt="1"/>
          </p:nvPr>
        </p:nvSpPr>
        <p:spPr>
          <a:xfrm>
            <a:off x="1169276" y="1563798"/>
            <a:ext cx="9720000" cy="720000"/>
          </a:xfrm>
          <a:prstGeom prst="rect">
            <a:avLst/>
          </a:prstGeom>
        </p:spPr>
        <p:txBody>
          <a:bodyPr lIns="0" tIns="0" rIns="0" bIns="0"/>
          <a:lstStyle>
            <a:lvl1pPr>
              <a:defRPr sz="3400" b="1" i="0">
                <a:solidFill>
                  <a:srgbClr val="EF9F3F"/>
                </a:solidFill>
                <a:latin typeface="Arial" charset="0"/>
                <a:ea typeface="Arial" charset="0"/>
                <a:cs typeface="Arial" charset="0"/>
              </a:defRPr>
            </a:lvl1pPr>
          </a:lstStyle>
          <a:p>
            <a:r>
              <a:rPr lang="en-US"/>
              <a:t>Heading</a:t>
            </a:r>
          </a:p>
        </p:txBody>
      </p:sp>
    </p:spTree>
    <p:extLst>
      <p:ext uri="{BB962C8B-B14F-4D97-AF65-F5344CB8AC3E}">
        <p14:creationId xmlns:p14="http://schemas.microsoft.com/office/powerpoint/2010/main" val="2800079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hyperlink" Target="http://www.foodafactoflife.org.uk/" TargetMode="External"/><Relationship Id="rId3" Type="http://schemas.openxmlformats.org/officeDocument/2006/relationships/tags" Target="../tags/tag2.xml"/><Relationship Id="rId7" Type="http://schemas.openxmlformats.org/officeDocument/2006/relationships/image" Target="../media/image3.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hyperlink" Target="http://www.foodafactoflife.org.uk/" TargetMode="External"/><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hyperlink" Target="http://www.foodafactoflife.org.uk/" TargetMode="External"/><Relationship Id="rId3" Type="http://schemas.openxmlformats.org/officeDocument/2006/relationships/theme" Target="../theme/theme3.xml"/><Relationship Id="rId7" Type="http://schemas.openxmlformats.org/officeDocument/2006/relationships/image" Target="../media/image5.png"/><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hyperlink" Target="http://www.foodafactoflife.org.uk/" TargetMode="External"/><Relationship Id="rId2" Type="http://schemas.openxmlformats.org/officeDocument/2006/relationships/theme" Target="../theme/theme4.xml"/><Relationship Id="rId1" Type="http://schemas.openxmlformats.org/officeDocument/2006/relationships/slideLayout" Target="../slideLayouts/slideLayout5.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160862-40A4-418F-BA05-7364BC4F57A3}"/>
              </a:ext>
            </a:extLst>
          </p:cNvPr>
          <p:cNvGraphicFramePr>
            <a:graphicFrameLocks noChangeAspect="1"/>
          </p:cNvGraphicFramePr>
          <p:nvPr userDrawn="1">
            <p:custDataLst>
              <p:tags r:id="rId3"/>
            </p:custDataLst>
            <p:extLst>
              <p:ext uri="{D42A27DB-BD31-4B8C-83A1-F6EECF244321}">
                <p14:modId xmlns:p14="http://schemas.microsoft.com/office/powerpoint/2010/main" val="2286662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42160862-40A4-418F-BA05-7364BC4F57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8" name="Picture 7"/>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439453" y="358589"/>
            <a:ext cx="2044335" cy="1435165"/>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8"/>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a:t>
            </a:r>
            <a:r>
              <a:rPr lang="en-US" sz="900" b="0" i="0" baseline="0">
                <a:solidFill>
                  <a:schemeClr val="tx1"/>
                </a:solidFill>
                <a:latin typeface="Arial" charset="0"/>
                <a:ea typeface="Arial" charset="0"/>
                <a:cs typeface="Arial" charset="0"/>
              </a:rPr>
              <a:t> Food – </a:t>
            </a:r>
            <a:r>
              <a:rPr lang="en-US" sz="900" b="0" i="0">
                <a:solidFill>
                  <a:schemeClr val="tx1"/>
                </a:solidFill>
                <a:latin typeface="Arial" charset="0"/>
                <a:ea typeface="Arial" charset="0"/>
                <a:cs typeface="Arial" charset="0"/>
              </a:rPr>
              <a:t>a fact of life 2022</a:t>
            </a:r>
          </a:p>
        </p:txBody>
      </p:sp>
    </p:spTree>
    <p:extLst>
      <p:ext uri="{BB962C8B-B14F-4D97-AF65-F5344CB8AC3E}">
        <p14:creationId xmlns:p14="http://schemas.microsoft.com/office/powerpoint/2010/main" val="1328885048"/>
      </p:ext>
    </p:extLst>
  </p:cSld>
  <p:clrMap bg1="lt1" tx1="dk1" bg2="lt2" tx2="dk2" accent1="accent1" accent2="accent2" accent3="accent3" accent4="accent4" accent5="accent5" accent6="accent6" hlink="hlink" folHlink="folHlink"/>
  <p:sldLayoutIdLst>
    <p:sldLayoutId id="214748364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2679DA3-4731-48D3-8E36-CB7A653629C8}"/>
              </a:ext>
            </a:extLst>
          </p:cNvPr>
          <p:cNvGraphicFramePr>
            <a:graphicFrameLocks noChangeAspect="1"/>
          </p:cNvGraphicFramePr>
          <p:nvPr userDrawn="1">
            <p:custDataLst>
              <p:tags r:id="rId3"/>
            </p:custDataLst>
            <p:extLst>
              <p:ext uri="{D42A27DB-BD31-4B8C-83A1-F6EECF244321}">
                <p14:modId xmlns:p14="http://schemas.microsoft.com/office/powerpoint/2010/main" val="1627965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82679DA3-4731-48D3-8E36-CB7A653629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2769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a:p>
            <a:pPr algn="r"/>
            <a:endParaRPr lang="en-US" sz="900" b="0" i="0">
              <a:solidFill>
                <a:schemeClr val="tx1"/>
              </a:solidFill>
              <a:latin typeface="Arial" charset="0"/>
              <a:ea typeface="Arial" charset="0"/>
              <a:cs typeface="Arial" charset="0"/>
            </a:endParaRPr>
          </a:p>
        </p:txBody>
      </p:sp>
    </p:spTree>
    <p:extLst>
      <p:ext uri="{BB962C8B-B14F-4D97-AF65-F5344CB8AC3E}">
        <p14:creationId xmlns:p14="http://schemas.microsoft.com/office/powerpoint/2010/main" val="1498317190"/>
      </p:ext>
    </p:extLst>
  </p:cSld>
  <p:clrMap bg1="lt1" tx1="dk1" bg2="lt2" tx2="dk2" accent1="accent1" accent2="accent2" accent3="accent3" accent4="accent4" accent5="accent5" accent6="accent6" hlink="hlink" folHlink="folHlink"/>
  <p:sldLayoutIdLst>
    <p:sldLayoutId id="214748365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E8F17B-CE4B-4D2B-BFE0-BF7FFE1964DE}"/>
              </a:ext>
            </a:extLst>
          </p:cNvPr>
          <p:cNvGraphicFramePr>
            <a:graphicFrameLocks noChangeAspect="1"/>
          </p:cNvGraphicFramePr>
          <p:nvPr userDrawn="1">
            <p:custDataLst>
              <p:tags r:id="rId4"/>
            </p:custDataLst>
            <p:extLst>
              <p:ext uri="{D42A27DB-BD31-4B8C-83A1-F6EECF244321}">
                <p14:modId xmlns:p14="http://schemas.microsoft.com/office/powerpoint/2010/main" val="4052132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6" imgH="403" progId="TCLayout.ActiveDocument.1">
                  <p:embed/>
                </p:oleObj>
              </mc:Choice>
              <mc:Fallback>
                <p:oleObj name="think-cell Slide" r:id="rId5" imgW="406" imgH="403" progId="TCLayout.ActiveDocument.1">
                  <p:embed/>
                  <p:pic>
                    <p:nvPicPr>
                      <p:cNvPr id="2" name="Object 1" hidden="1">
                        <a:extLst>
                          <a:ext uri="{FF2B5EF4-FFF2-40B4-BE49-F238E27FC236}">
                            <a16:creationId xmlns:a16="http://schemas.microsoft.com/office/drawing/2014/main" id="{F4E8F17B-CE4B-4D2B-BFE0-BF7FFE1964D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8"/>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p:txBody>
      </p:sp>
    </p:spTree>
    <p:extLst>
      <p:ext uri="{BB962C8B-B14F-4D97-AF65-F5344CB8AC3E}">
        <p14:creationId xmlns:p14="http://schemas.microsoft.com/office/powerpoint/2010/main" val="1822393236"/>
      </p:ext>
    </p:extLst>
  </p:cSld>
  <p:clrMap bg1="lt1" tx1="dk1" bg2="lt2" tx2="dk2" accent1="accent1" accent2="accent2" accent3="accent3" accent4="accent4" accent5="accent5" accent6="accent6" hlink="hlink" folHlink="folHlink"/>
  <p:sldLayoutIdLst>
    <p:sldLayoutId id="2147483653" r:id="rId1"/>
    <p:sldLayoutId id="2147483662"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C646FD-9780-4F7E-B8BB-C7185B16676C}"/>
              </a:ext>
            </a:extLst>
          </p:cNvPr>
          <p:cNvGraphicFramePr>
            <a:graphicFrameLocks noChangeAspect="1"/>
          </p:cNvGraphicFramePr>
          <p:nvPr userDrawn="1">
            <p:custDataLst>
              <p:tags r:id="rId3"/>
            </p:custDataLst>
            <p:extLst>
              <p:ext uri="{D42A27DB-BD31-4B8C-83A1-F6EECF244321}">
                <p14:modId xmlns:p14="http://schemas.microsoft.com/office/powerpoint/2010/main" val="3368864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B7C646FD-9780-4F7E-B8BB-C7185B1667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179973"/>
            <a:ext cx="12192000" cy="6858000"/>
          </a:xfrm>
          <a:prstGeom prst="rect">
            <a:avLst/>
          </a:prstGeom>
        </p:spPr>
      </p:pic>
      <p:sp>
        <p:nvSpPr>
          <p:cNvPr id="8" name="TextBox 7"/>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p:txBody>
      </p:sp>
    </p:spTree>
    <p:extLst>
      <p:ext uri="{BB962C8B-B14F-4D97-AF65-F5344CB8AC3E}">
        <p14:creationId xmlns:p14="http://schemas.microsoft.com/office/powerpoint/2010/main" val="1788143608"/>
      </p:ext>
    </p:extLst>
  </p:cSld>
  <p:clrMap bg1="lt1" tx1="dk1" bg2="lt2" tx2="dk2" accent1="accent1" accent2="accent2" accent3="accent3" accent4="accent4" accent5="accent5" accent6="accent6" hlink="hlink" folHlink="folHlink"/>
  <p:sldLayoutIdLst>
    <p:sldLayoutId id="214748366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6.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explorefood.foodafactoflife.org.uk/" TargetMode="Externa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2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hyperlink" Target="https://www.nutrition.org.uk/nutritionscience/health-conditions/heart-disease.html?limit=1&amp;start=1" TargetMode="Externa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11.xml"/><Relationship Id="rId5" Type="http://schemas.openxmlformats.org/officeDocument/2006/relationships/hyperlink" Target="https://www.foodafactoflife.org.uk/whole-school/whole-school-approach/guidelines-for-school-education-resources-about-food/" TargetMode="Externa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CBAB5C4-5602-473B-9D95-400B1B769964}"/>
              </a:ext>
            </a:extLst>
          </p:cNvPr>
          <p:cNvGraphicFramePr>
            <a:graphicFrameLocks noChangeAspect="1"/>
          </p:cNvGraphicFramePr>
          <p:nvPr>
            <p:custDataLst>
              <p:tags r:id="rId1"/>
            </p:custDataLst>
            <p:extLst>
              <p:ext uri="{D42A27DB-BD31-4B8C-83A1-F6EECF244321}">
                <p14:modId xmlns:p14="http://schemas.microsoft.com/office/powerpoint/2010/main" val="3706408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4" name="Object 3" hidden="1">
                        <a:extLst>
                          <a:ext uri="{FF2B5EF4-FFF2-40B4-BE49-F238E27FC236}">
                            <a16:creationId xmlns:a16="http://schemas.microsoft.com/office/drawing/2014/main" id="{8CBAB5C4-5602-473B-9D95-400B1B7699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t>Unhealthy diets</a:t>
            </a:r>
          </a:p>
        </p:txBody>
      </p:sp>
    </p:spTree>
    <p:extLst>
      <p:ext uri="{BB962C8B-B14F-4D97-AF65-F5344CB8AC3E}">
        <p14:creationId xmlns:p14="http://schemas.microsoft.com/office/powerpoint/2010/main" val="19551663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altLang="en-US" dirty="0">
                <a:latin typeface="Arial" panose="020B0604020202020204" pitchFamily="34" charset="0"/>
                <a:cs typeface="Arial" panose="020B0604020202020204" pitchFamily="34" charset="0"/>
              </a:rPr>
              <a:t>Undernutrition</a:t>
            </a:r>
          </a:p>
        </p:txBody>
      </p:sp>
      <p:sp>
        <p:nvSpPr>
          <p:cNvPr id="3" name="Subtitle 2"/>
          <p:cNvSpPr>
            <a:spLocks noGrp="1"/>
          </p:cNvSpPr>
          <p:nvPr>
            <p:ph type="subTitle" idx="1"/>
          </p:nvPr>
        </p:nvSpPr>
        <p:spPr>
          <a:xfrm>
            <a:off x="1169276" y="2571092"/>
            <a:ext cx="6727815" cy="3600000"/>
          </a:xfrm>
        </p:spPr>
        <p:txBody>
          <a:bodyPr/>
          <a:lstStyle/>
          <a:p>
            <a:pPr marL="0" indent="0">
              <a:spcBef>
                <a:spcPct val="0"/>
              </a:spcBef>
              <a:buNone/>
            </a:pPr>
            <a:r>
              <a:rPr lang="en-GB" altLang="en-US" sz="2000" dirty="0">
                <a:latin typeface="Arial" panose="020B0604020202020204" pitchFamily="34" charset="0"/>
                <a:cs typeface="Arial" panose="020B0604020202020204" pitchFamily="34" charset="0"/>
              </a:rPr>
              <a:t>Worldwide, Kwashiorkor and marasmus are two common diseases caused by a lack of protein and energy.</a:t>
            </a:r>
          </a:p>
          <a:p>
            <a:pPr marL="0" indent="0">
              <a:spcBef>
                <a:spcPct val="0"/>
              </a:spcBef>
              <a:buNone/>
            </a:pPr>
            <a:endParaRPr lang="en-GB" altLang="en-US" sz="2000" dirty="0">
              <a:latin typeface="Arial" panose="020B0604020202020204" pitchFamily="34" charset="0"/>
              <a:cs typeface="Arial" panose="020B0604020202020204" pitchFamily="34" charset="0"/>
            </a:endParaRPr>
          </a:p>
          <a:p>
            <a:pPr marL="0" indent="0">
              <a:spcBef>
                <a:spcPct val="0"/>
              </a:spcBef>
              <a:buNone/>
            </a:pPr>
            <a:r>
              <a:rPr lang="en-GB" altLang="en-US" sz="2000" dirty="0">
                <a:latin typeface="Arial" panose="020B0604020202020204" pitchFamily="34" charset="0"/>
                <a:cs typeface="Arial" panose="020B0604020202020204" pitchFamily="34" charset="0"/>
              </a:rPr>
              <a:t>Fat soluble vitamins (A, D, E and K) and minerals are stored in the body so it takes time for deficiency diseases to develop. For example, vitamin A deficiency can lead to ‘night blindness’.</a:t>
            </a:r>
          </a:p>
          <a:p>
            <a:pPr marL="0" indent="0">
              <a:spcBef>
                <a:spcPct val="0"/>
              </a:spcBef>
              <a:buNone/>
            </a:pPr>
            <a:endParaRPr lang="en-GB" altLang="en-US" sz="2000" dirty="0">
              <a:latin typeface="Arial" panose="020B0604020202020204" pitchFamily="34" charset="0"/>
              <a:cs typeface="Arial" panose="020B0604020202020204" pitchFamily="34" charset="0"/>
            </a:endParaRPr>
          </a:p>
          <a:p>
            <a:pPr marL="0" indent="0">
              <a:spcBef>
                <a:spcPct val="0"/>
              </a:spcBef>
              <a:buNone/>
            </a:pPr>
            <a:r>
              <a:rPr lang="en-GB" altLang="en-US" sz="2000" dirty="0">
                <a:latin typeface="Arial" panose="020B0604020202020204" pitchFamily="34" charset="0"/>
                <a:cs typeface="Arial" panose="020B0604020202020204" pitchFamily="34" charset="0"/>
              </a:rPr>
              <a:t>Water soluble vitamins are not stored in the body so low intakes usually lead to signs of deficiency relatively quickly.</a:t>
            </a:r>
          </a:p>
          <a:p>
            <a:pPr marL="0" indent="0">
              <a:buNone/>
            </a:pPr>
            <a:endParaRPr lang="en-GB" dirty="0"/>
          </a:p>
        </p:txBody>
      </p:sp>
    </p:spTree>
    <p:extLst>
      <p:ext uri="{BB962C8B-B14F-4D97-AF65-F5344CB8AC3E}">
        <p14:creationId xmlns:p14="http://schemas.microsoft.com/office/powerpoint/2010/main" val="20654462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 silhouette&#10;&#10;Description automatically generated">
            <a:extLst>
              <a:ext uri="{FF2B5EF4-FFF2-40B4-BE49-F238E27FC236}">
                <a16:creationId xmlns:a16="http://schemas.microsoft.com/office/drawing/2014/main" id="{56C9BA57-D034-DE2C-4EA0-E25EF9BBEC05}"/>
              </a:ext>
            </a:extLst>
          </p:cNvPr>
          <p:cNvPicPr>
            <a:picLocks noChangeAspect="1"/>
          </p:cNvPicPr>
          <p:nvPr/>
        </p:nvPicPr>
        <p:blipFill>
          <a:blip r:embed="rId2"/>
          <a:stretch>
            <a:fillRect/>
          </a:stretch>
        </p:blipFill>
        <p:spPr>
          <a:xfrm>
            <a:off x="6993676" y="2398221"/>
            <a:ext cx="4977760" cy="3272305"/>
          </a:xfrm>
          <a:prstGeom prst="rect">
            <a:avLst/>
          </a:prstGeom>
        </p:spPr>
      </p:pic>
      <p:sp>
        <p:nvSpPr>
          <p:cNvPr id="2" name="Title 1"/>
          <p:cNvSpPr>
            <a:spLocks noGrp="1"/>
          </p:cNvSpPr>
          <p:nvPr>
            <p:ph type="ctrTitle"/>
          </p:nvPr>
        </p:nvSpPr>
        <p:spPr/>
        <p:txBody>
          <a:bodyPr/>
          <a:lstStyle/>
          <a:p>
            <a:r>
              <a:rPr lang="en-GB" dirty="0"/>
              <a:t>Over nutrition</a:t>
            </a:r>
          </a:p>
        </p:txBody>
      </p:sp>
      <p:sp>
        <p:nvSpPr>
          <p:cNvPr id="3" name="Subtitle 2"/>
          <p:cNvSpPr>
            <a:spLocks noGrp="1"/>
          </p:cNvSpPr>
          <p:nvPr>
            <p:ph type="subTitle" idx="1"/>
          </p:nvPr>
        </p:nvSpPr>
        <p:spPr>
          <a:xfrm>
            <a:off x="1169277" y="2535467"/>
            <a:ext cx="6229050" cy="1305013"/>
          </a:xfrm>
        </p:spPr>
        <p:txBody>
          <a:bodyPr/>
          <a:lstStyle/>
          <a:p>
            <a:pPr marL="0" indent="0">
              <a:buNone/>
            </a:pPr>
            <a:r>
              <a:rPr lang="en-GB" sz="2000" dirty="0"/>
              <a:t>If the energy in the food you eat is more than the energy you use in the day, you will gain body mass. This is stored as fat under the skin </a:t>
            </a:r>
          </a:p>
          <a:p>
            <a:pPr marL="0" indent="0">
              <a:buNone/>
            </a:pPr>
            <a:r>
              <a:rPr lang="en-GB" sz="2000" dirty="0"/>
              <a:t>You can become overweight. This can lead to obesity in extreme cases</a:t>
            </a:r>
          </a:p>
          <a:p>
            <a:pPr marL="0" indent="0">
              <a:buNone/>
            </a:pPr>
            <a:r>
              <a:rPr lang="en-GB" sz="2000" dirty="0"/>
              <a:t>Overweight people can have an increased risk of: </a:t>
            </a:r>
          </a:p>
          <a:p>
            <a:r>
              <a:rPr lang="en-GB" dirty="0"/>
              <a:t>h</a:t>
            </a:r>
            <a:r>
              <a:rPr lang="en-GB" sz="2000" dirty="0"/>
              <a:t>eart disease;</a:t>
            </a:r>
          </a:p>
          <a:p>
            <a:r>
              <a:rPr lang="en-GB" sz="2000" dirty="0"/>
              <a:t>stroke;</a:t>
            </a:r>
          </a:p>
          <a:p>
            <a:r>
              <a:rPr lang="en-GB" sz="2000" dirty="0"/>
              <a:t>diabetes;</a:t>
            </a:r>
          </a:p>
          <a:p>
            <a:r>
              <a:rPr lang="en-GB" dirty="0"/>
              <a:t>s</a:t>
            </a:r>
            <a:r>
              <a:rPr lang="en-GB" sz="2000" dirty="0"/>
              <a:t>ome cancers</a:t>
            </a:r>
          </a:p>
        </p:txBody>
      </p:sp>
    </p:spTree>
    <p:extLst>
      <p:ext uri="{BB962C8B-B14F-4D97-AF65-F5344CB8AC3E}">
        <p14:creationId xmlns:p14="http://schemas.microsoft.com/office/powerpoint/2010/main" val="29438240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Over nutrition</a:t>
            </a:r>
          </a:p>
        </p:txBody>
      </p:sp>
      <p:sp>
        <p:nvSpPr>
          <p:cNvPr id="3" name="Subtitle 2"/>
          <p:cNvSpPr>
            <a:spLocks noGrp="1"/>
          </p:cNvSpPr>
          <p:nvPr>
            <p:ph type="subTitle" idx="1"/>
          </p:nvPr>
        </p:nvSpPr>
        <p:spPr>
          <a:xfrm>
            <a:off x="1169277" y="2535467"/>
            <a:ext cx="7060324" cy="1288389"/>
          </a:xfrm>
        </p:spPr>
        <p:txBody>
          <a:bodyPr/>
          <a:lstStyle/>
          <a:p>
            <a:pPr marL="0" indent="0">
              <a:buNone/>
            </a:pPr>
            <a:r>
              <a:rPr lang="en-GB" sz="2000" dirty="0"/>
              <a:t>Over nutrition is a problem usually associated with developed countries, such as the United Kingdom.</a:t>
            </a:r>
          </a:p>
          <a:p>
            <a:pPr marL="0" indent="0">
              <a:buNone/>
            </a:pPr>
            <a:endParaRPr lang="en-GB" sz="2000" dirty="0"/>
          </a:p>
          <a:p>
            <a:pPr marL="0" indent="0">
              <a:buNone/>
            </a:pPr>
            <a:r>
              <a:rPr lang="en-GB" sz="2000" dirty="0"/>
              <a:t>The most common over nutrition problem is obesity caused by too much energy being consumed, or high levels of inactivity.</a:t>
            </a:r>
          </a:p>
        </p:txBody>
      </p:sp>
    </p:spTree>
    <p:extLst>
      <p:ext uri="{BB962C8B-B14F-4D97-AF65-F5344CB8AC3E}">
        <p14:creationId xmlns:p14="http://schemas.microsoft.com/office/powerpoint/2010/main" val="12002299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87C79-2277-C6F4-4657-97C5EA3DB783}"/>
              </a:ext>
            </a:extLst>
          </p:cNvPr>
          <p:cNvSpPr>
            <a:spLocks noGrp="1"/>
          </p:cNvSpPr>
          <p:nvPr>
            <p:ph type="ctrTitle"/>
          </p:nvPr>
        </p:nvSpPr>
        <p:spPr/>
        <p:txBody>
          <a:bodyPr/>
          <a:lstStyle/>
          <a:p>
            <a:r>
              <a:rPr lang="en-GB" dirty="0"/>
              <a:t>Undernutrition or overnutrition</a:t>
            </a:r>
          </a:p>
        </p:txBody>
      </p:sp>
      <p:graphicFrame>
        <p:nvGraphicFramePr>
          <p:cNvPr id="3" name="Table 3">
            <a:extLst>
              <a:ext uri="{FF2B5EF4-FFF2-40B4-BE49-F238E27FC236}">
                <a16:creationId xmlns:a16="http://schemas.microsoft.com/office/drawing/2014/main" id="{126CC50F-BB50-8FDD-9BCB-0F60A8DA8D84}"/>
              </a:ext>
            </a:extLst>
          </p:cNvPr>
          <p:cNvGraphicFramePr>
            <a:graphicFrameLocks noGrp="1"/>
          </p:cNvGraphicFramePr>
          <p:nvPr>
            <p:extLst>
              <p:ext uri="{D42A27DB-BD31-4B8C-83A1-F6EECF244321}">
                <p14:modId xmlns:p14="http://schemas.microsoft.com/office/powerpoint/2010/main" val="3375876075"/>
              </p:ext>
            </p:extLst>
          </p:nvPr>
        </p:nvGraphicFramePr>
        <p:xfrm>
          <a:off x="1785001" y="3108679"/>
          <a:ext cx="8621997" cy="3284555"/>
        </p:xfrm>
        <a:graphic>
          <a:graphicData uri="http://schemas.openxmlformats.org/drawingml/2006/table">
            <a:tbl>
              <a:tblPr firstRow="1" bandRow="1">
                <a:tableStyleId>{5C22544A-7EE6-4342-B048-85BDC9FD1C3A}</a:tableStyleId>
              </a:tblPr>
              <a:tblGrid>
                <a:gridCol w="2873999">
                  <a:extLst>
                    <a:ext uri="{9D8B030D-6E8A-4147-A177-3AD203B41FA5}">
                      <a16:colId xmlns:a16="http://schemas.microsoft.com/office/drawing/2014/main" val="2889218216"/>
                    </a:ext>
                  </a:extLst>
                </a:gridCol>
                <a:gridCol w="2873999">
                  <a:extLst>
                    <a:ext uri="{9D8B030D-6E8A-4147-A177-3AD203B41FA5}">
                      <a16:colId xmlns:a16="http://schemas.microsoft.com/office/drawing/2014/main" val="154900208"/>
                    </a:ext>
                  </a:extLst>
                </a:gridCol>
                <a:gridCol w="2873999">
                  <a:extLst>
                    <a:ext uri="{9D8B030D-6E8A-4147-A177-3AD203B41FA5}">
                      <a16:colId xmlns:a16="http://schemas.microsoft.com/office/drawing/2014/main" val="465382034"/>
                    </a:ext>
                  </a:extLst>
                </a:gridCol>
              </a:tblGrid>
              <a:tr h="656911">
                <a:tc>
                  <a:txBody>
                    <a:bodyPr/>
                    <a:lstStyle/>
                    <a:p>
                      <a:pPr algn="ctr"/>
                      <a:endParaRPr lang="en-GB" sz="2000" dirty="0">
                        <a:latin typeface="Arial" panose="020B0604020202020204" pitchFamily="34" charset="0"/>
                        <a:cs typeface="Arial" panose="020B0604020202020204" pitchFamily="34" charset="0"/>
                      </a:endParaRPr>
                    </a:p>
                  </a:txBody>
                  <a:tcPr anchor="ctr">
                    <a:solidFill>
                      <a:srgbClr val="EF9F3F"/>
                    </a:solidFill>
                  </a:tcPr>
                </a:tc>
                <a:tc>
                  <a:txBody>
                    <a:bodyPr/>
                    <a:lstStyle/>
                    <a:p>
                      <a:pPr algn="ctr"/>
                      <a:r>
                        <a:rPr lang="en-GB" sz="2000" dirty="0">
                          <a:latin typeface="Arial" panose="020B0604020202020204" pitchFamily="34" charset="0"/>
                          <a:cs typeface="Arial" panose="020B0604020202020204" pitchFamily="34" charset="0"/>
                        </a:rPr>
                        <a:t>Overnutrition</a:t>
                      </a:r>
                    </a:p>
                  </a:txBody>
                  <a:tcPr anchor="ctr">
                    <a:solidFill>
                      <a:srgbClr val="EF9F3F"/>
                    </a:solidFill>
                  </a:tcPr>
                </a:tc>
                <a:tc>
                  <a:txBody>
                    <a:bodyPr/>
                    <a:lstStyle/>
                    <a:p>
                      <a:pPr algn="ctr"/>
                      <a:r>
                        <a:rPr lang="en-GB" sz="2000" dirty="0">
                          <a:latin typeface="Arial" panose="020B0604020202020204" pitchFamily="34" charset="0"/>
                          <a:cs typeface="Arial" panose="020B0604020202020204" pitchFamily="34" charset="0"/>
                        </a:rPr>
                        <a:t>Undernutrition</a:t>
                      </a:r>
                    </a:p>
                  </a:txBody>
                  <a:tcPr anchor="ctr">
                    <a:solidFill>
                      <a:srgbClr val="EF9F3F"/>
                    </a:solidFill>
                  </a:tcPr>
                </a:tc>
                <a:extLst>
                  <a:ext uri="{0D108BD9-81ED-4DB2-BD59-A6C34878D82A}">
                    <a16:rowId xmlns:a16="http://schemas.microsoft.com/office/drawing/2014/main" val="2057535636"/>
                  </a:ext>
                </a:extLst>
              </a:tr>
              <a:tr h="656911">
                <a:tc>
                  <a:txBody>
                    <a:bodyPr/>
                    <a:lstStyle/>
                    <a:p>
                      <a:pPr algn="ctr"/>
                      <a:r>
                        <a:rPr lang="en-GB" sz="2000" b="1" dirty="0">
                          <a:solidFill>
                            <a:schemeClr val="bg1"/>
                          </a:solidFill>
                          <a:latin typeface="Arial" panose="020B0604020202020204" pitchFamily="34" charset="0"/>
                          <a:cs typeface="Arial" panose="020B0604020202020204" pitchFamily="34" charset="0"/>
                        </a:rPr>
                        <a:t>Definition</a:t>
                      </a:r>
                    </a:p>
                  </a:txBody>
                  <a:tcPr anchor="ctr">
                    <a:solidFill>
                      <a:srgbClr val="EF9F3F"/>
                    </a:solidFill>
                  </a:tcPr>
                </a:tc>
                <a:tc>
                  <a:txBody>
                    <a:bodyPr/>
                    <a:lstStyle/>
                    <a:p>
                      <a:pPr algn="ctr"/>
                      <a:endParaRPr lang="en-GB" sz="2000" dirty="0">
                        <a:latin typeface="Arial" panose="020B0604020202020204" pitchFamily="34" charset="0"/>
                        <a:cs typeface="Arial" panose="020B0604020202020204" pitchFamily="34" charset="0"/>
                      </a:endParaRPr>
                    </a:p>
                  </a:txBody>
                  <a:tcPr anchor="ctr">
                    <a:solidFill>
                      <a:srgbClr val="FCE3C2"/>
                    </a:solidFill>
                  </a:tcPr>
                </a:tc>
                <a:tc>
                  <a:txBody>
                    <a:bodyPr/>
                    <a:lstStyle/>
                    <a:p>
                      <a:pPr algn="ctr"/>
                      <a:endParaRPr lang="en-GB" sz="2000" dirty="0">
                        <a:latin typeface="Arial" panose="020B0604020202020204" pitchFamily="34" charset="0"/>
                        <a:cs typeface="Arial" panose="020B0604020202020204" pitchFamily="34" charset="0"/>
                      </a:endParaRPr>
                    </a:p>
                  </a:txBody>
                  <a:tcPr anchor="ctr">
                    <a:solidFill>
                      <a:srgbClr val="FCE3C2"/>
                    </a:solidFill>
                  </a:tcPr>
                </a:tc>
                <a:extLst>
                  <a:ext uri="{0D108BD9-81ED-4DB2-BD59-A6C34878D82A}">
                    <a16:rowId xmlns:a16="http://schemas.microsoft.com/office/drawing/2014/main" val="90668072"/>
                  </a:ext>
                </a:extLst>
              </a:tr>
              <a:tr h="656911">
                <a:tc>
                  <a:txBody>
                    <a:bodyPr/>
                    <a:lstStyle/>
                    <a:p>
                      <a:pPr algn="ctr"/>
                      <a:r>
                        <a:rPr lang="en-GB" sz="2000" b="1" dirty="0">
                          <a:solidFill>
                            <a:schemeClr val="bg1"/>
                          </a:solidFill>
                          <a:latin typeface="Arial" panose="020B0604020202020204" pitchFamily="34" charset="0"/>
                          <a:cs typeface="Arial" panose="020B0604020202020204" pitchFamily="34" charset="0"/>
                        </a:rPr>
                        <a:t>Explanation</a:t>
                      </a:r>
                    </a:p>
                  </a:txBody>
                  <a:tcPr anchor="ctr">
                    <a:solidFill>
                      <a:srgbClr val="EF9F3F"/>
                    </a:solidFill>
                  </a:tcPr>
                </a:tc>
                <a:tc>
                  <a:txBody>
                    <a:bodyPr/>
                    <a:lstStyle/>
                    <a:p>
                      <a:pPr algn="ctr"/>
                      <a:endParaRPr lang="en-GB" sz="2000">
                        <a:latin typeface="Arial" panose="020B0604020202020204" pitchFamily="34" charset="0"/>
                        <a:cs typeface="Arial" panose="020B0604020202020204" pitchFamily="34" charset="0"/>
                      </a:endParaRPr>
                    </a:p>
                  </a:txBody>
                  <a:tcPr anchor="ctr">
                    <a:solidFill>
                      <a:srgbClr val="FCE3C2"/>
                    </a:solidFill>
                  </a:tcPr>
                </a:tc>
                <a:tc>
                  <a:txBody>
                    <a:bodyPr/>
                    <a:lstStyle/>
                    <a:p>
                      <a:pPr algn="ctr"/>
                      <a:endParaRPr lang="en-GB" sz="2000" dirty="0">
                        <a:latin typeface="Arial" panose="020B0604020202020204" pitchFamily="34" charset="0"/>
                        <a:cs typeface="Arial" panose="020B0604020202020204" pitchFamily="34" charset="0"/>
                      </a:endParaRPr>
                    </a:p>
                  </a:txBody>
                  <a:tcPr anchor="ctr">
                    <a:solidFill>
                      <a:srgbClr val="FCE3C2"/>
                    </a:solidFill>
                  </a:tcPr>
                </a:tc>
                <a:extLst>
                  <a:ext uri="{0D108BD9-81ED-4DB2-BD59-A6C34878D82A}">
                    <a16:rowId xmlns:a16="http://schemas.microsoft.com/office/drawing/2014/main" val="203829685"/>
                  </a:ext>
                </a:extLst>
              </a:tr>
              <a:tr h="656911">
                <a:tc>
                  <a:txBody>
                    <a:bodyPr/>
                    <a:lstStyle/>
                    <a:p>
                      <a:pPr algn="ctr"/>
                      <a:r>
                        <a:rPr lang="en-GB" sz="2000" b="1" dirty="0">
                          <a:solidFill>
                            <a:schemeClr val="bg1"/>
                          </a:solidFill>
                          <a:latin typeface="Arial" panose="020B0604020202020204" pitchFamily="34" charset="0"/>
                          <a:cs typeface="Arial" panose="020B0604020202020204" pitchFamily="34" charset="0"/>
                        </a:rPr>
                        <a:t>Risks</a:t>
                      </a:r>
                    </a:p>
                  </a:txBody>
                  <a:tcPr anchor="ctr">
                    <a:solidFill>
                      <a:srgbClr val="EF9F3F"/>
                    </a:solidFill>
                  </a:tcPr>
                </a:tc>
                <a:tc>
                  <a:txBody>
                    <a:bodyPr/>
                    <a:lstStyle/>
                    <a:p>
                      <a:pPr algn="ctr"/>
                      <a:endParaRPr lang="en-GB" sz="2000" dirty="0">
                        <a:latin typeface="Arial" panose="020B0604020202020204" pitchFamily="34" charset="0"/>
                        <a:cs typeface="Arial" panose="020B0604020202020204" pitchFamily="34" charset="0"/>
                      </a:endParaRPr>
                    </a:p>
                  </a:txBody>
                  <a:tcPr anchor="ctr">
                    <a:solidFill>
                      <a:srgbClr val="FCE3C2"/>
                    </a:solidFill>
                  </a:tcPr>
                </a:tc>
                <a:tc>
                  <a:txBody>
                    <a:bodyPr/>
                    <a:lstStyle/>
                    <a:p>
                      <a:pPr algn="ctr"/>
                      <a:endParaRPr lang="en-GB" sz="2000" dirty="0">
                        <a:latin typeface="Arial" panose="020B0604020202020204" pitchFamily="34" charset="0"/>
                        <a:cs typeface="Arial" panose="020B0604020202020204" pitchFamily="34" charset="0"/>
                      </a:endParaRPr>
                    </a:p>
                  </a:txBody>
                  <a:tcPr anchor="ctr">
                    <a:solidFill>
                      <a:srgbClr val="FCE3C2"/>
                    </a:solidFill>
                  </a:tcPr>
                </a:tc>
                <a:extLst>
                  <a:ext uri="{0D108BD9-81ED-4DB2-BD59-A6C34878D82A}">
                    <a16:rowId xmlns:a16="http://schemas.microsoft.com/office/drawing/2014/main" val="3597816081"/>
                  </a:ext>
                </a:extLst>
              </a:tr>
              <a:tr h="656911">
                <a:tc>
                  <a:txBody>
                    <a:bodyPr/>
                    <a:lstStyle/>
                    <a:p>
                      <a:pPr algn="ctr"/>
                      <a:r>
                        <a:rPr lang="en-GB" sz="2000" b="1" dirty="0">
                          <a:solidFill>
                            <a:schemeClr val="bg1"/>
                          </a:solidFill>
                          <a:latin typeface="Arial" panose="020B0604020202020204" pitchFamily="34" charset="0"/>
                          <a:cs typeface="Arial" panose="020B0604020202020204" pitchFamily="34" charset="0"/>
                        </a:rPr>
                        <a:t>Examples</a:t>
                      </a:r>
                    </a:p>
                  </a:txBody>
                  <a:tcPr anchor="ctr">
                    <a:solidFill>
                      <a:srgbClr val="EF9F3F"/>
                    </a:solidFill>
                  </a:tcPr>
                </a:tc>
                <a:tc>
                  <a:txBody>
                    <a:bodyPr/>
                    <a:lstStyle/>
                    <a:p>
                      <a:pPr algn="ctr"/>
                      <a:endParaRPr lang="en-GB" sz="2000">
                        <a:latin typeface="Arial" panose="020B0604020202020204" pitchFamily="34" charset="0"/>
                        <a:cs typeface="Arial" panose="020B0604020202020204" pitchFamily="34" charset="0"/>
                      </a:endParaRPr>
                    </a:p>
                  </a:txBody>
                  <a:tcPr anchor="ctr">
                    <a:solidFill>
                      <a:srgbClr val="FCE3C2"/>
                    </a:solidFill>
                  </a:tcPr>
                </a:tc>
                <a:tc>
                  <a:txBody>
                    <a:bodyPr/>
                    <a:lstStyle/>
                    <a:p>
                      <a:pPr algn="ctr"/>
                      <a:endParaRPr lang="en-GB" sz="2000" dirty="0">
                        <a:latin typeface="Arial" panose="020B0604020202020204" pitchFamily="34" charset="0"/>
                        <a:cs typeface="Arial" panose="020B0604020202020204" pitchFamily="34" charset="0"/>
                      </a:endParaRPr>
                    </a:p>
                  </a:txBody>
                  <a:tcPr anchor="ctr">
                    <a:solidFill>
                      <a:srgbClr val="FCE3C2"/>
                    </a:solidFill>
                  </a:tcPr>
                </a:tc>
                <a:extLst>
                  <a:ext uri="{0D108BD9-81ED-4DB2-BD59-A6C34878D82A}">
                    <a16:rowId xmlns:a16="http://schemas.microsoft.com/office/drawing/2014/main" val="977613194"/>
                  </a:ext>
                </a:extLst>
              </a:tr>
            </a:tbl>
          </a:graphicData>
        </a:graphic>
      </p:graphicFrame>
      <p:sp>
        <p:nvSpPr>
          <p:cNvPr id="4" name="Subtitle 2">
            <a:extLst>
              <a:ext uri="{FF2B5EF4-FFF2-40B4-BE49-F238E27FC236}">
                <a16:creationId xmlns:a16="http://schemas.microsoft.com/office/drawing/2014/main" id="{AFC1BEE5-36C5-255A-2005-917623BDBB3C}"/>
              </a:ext>
            </a:extLst>
          </p:cNvPr>
          <p:cNvSpPr>
            <a:spLocks noGrp="1"/>
          </p:cNvSpPr>
          <p:nvPr>
            <p:ph type="subTitle" idx="1"/>
          </p:nvPr>
        </p:nvSpPr>
        <p:spPr>
          <a:xfrm>
            <a:off x="1169277" y="2535467"/>
            <a:ext cx="7060324" cy="1288389"/>
          </a:xfrm>
        </p:spPr>
        <p:txBody>
          <a:bodyPr/>
          <a:lstStyle/>
          <a:p>
            <a:pPr marL="0" indent="0">
              <a:buNone/>
            </a:pPr>
            <a:r>
              <a:rPr lang="en-GB" dirty="0"/>
              <a:t>Complete the following table with information on overnutrition and undernutrition.</a:t>
            </a:r>
            <a:endParaRPr lang="en-GB" sz="2000" dirty="0"/>
          </a:p>
        </p:txBody>
      </p:sp>
    </p:spTree>
    <p:extLst>
      <p:ext uri="{BB962C8B-B14F-4D97-AF65-F5344CB8AC3E}">
        <p14:creationId xmlns:p14="http://schemas.microsoft.com/office/powerpoint/2010/main" val="38796422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pPr marL="0" indent="0">
              <a:spcBef>
                <a:spcPct val="0"/>
              </a:spcBef>
              <a:buNone/>
            </a:pPr>
            <a:r>
              <a:rPr lang="en-GB" altLang="en-US" sz="2000" b="1" dirty="0"/>
              <a:t>Body Mass Index (BMI)</a:t>
            </a:r>
            <a:r>
              <a:rPr lang="en-GB" altLang="en-US" sz="2000" dirty="0"/>
              <a:t> can be used to identify if an adult is a correct weight for height.</a:t>
            </a:r>
          </a:p>
          <a:p>
            <a:pPr>
              <a:spcBef>
                <a:spcPct val="0"/>
              </a:spcBef>
            </a:pPr>
            <a:endParaRPr lang="en-US" altLang="en-US" sz="2000" b="1" dirty="0"/>
          </a:p>
          <a:p>
            <a:pPr marL="0" indent="0">
              <a:spcBef>
                <a:spcPct val="0"/>
              </a:spcBef>
              <a:buNone/>
            </a:pPr>
            <a:r>
              <a:rPr lang="en-US" altLang="en-US" sz="2000" dirty="0"/>
              <a:t>BMI can be calculated as follows:</a:t>
            </a:r>
          </a:p>
          <a:p>
            <a:pPr>
              <a:spcBef>
                <a:spcPct val="0"/>
              </a:spcBef>
            </a:pPr>
            <a:endParaRPr lang="en-US" altLang="en-US" sz="2000" b="1" dirty="0"/>
          </a:p>
          <a:p>
            <a:pPr marL="0" indent="0">
              <a:spcBef>
                <a:spcPct val="0"/>
              </a:spcBef>
              <a:buNone/>
            </a:pPr>
            <a:r>
              <a:rPr lang="en-GB" altLang="en-US" sz="2000" dirty="0"/>
              <a:t>BMI = 	  </a:t>
            </a:r>
            <a:r>
              <a:rPr lang="en-GB" altLang="en-US" sz="2000" u="sng" dirty="0"/>
              <a:t>weight (kg)</a:t>
            </a:r>
          </a:p>
          <a:p>
            <a:pPr marL="0" indent="0">
              <a:spcBef>
                <a:spcPct val="0"/>
              </a:spcBef>
              <a:buNone/>
            </a:pPr>
            <a:r>
              <a:rPr lang="en-GB" altLang="en-US" sz="2000" dirty="0"/>
              <a:t>	(height in m)</a:t>
            </a:r>
            <a:r>
              <a:rPr lang="en-GB" altLang="en-US" sz="2000" baseline="30000" dirty="0"/>
              <a:t>2 </a:t>
            </a:r>
            <a:endParaRPr lang="en-US" altLang="en-US" sz="2000" dirty="0"/>
          </a:p>
          <a:p>
            <a:pPr marL="0" indent="0">
              <a:buNone/>
            </a:pPr>
            <a:endParaRPr lang="en-GB" dirty="0"/>
          </a:p>
        </p:txBody>
      </p:sp>
      <p:sp>
        <p:nvSpPr>
          <p:cNvPr id="3" name="Text Placeholder 2"/>
          <p:cNvSpPr>
            <a:spLocks noGrp="1"/>
          </p:cNvSpPr>
          <p:nvPr>
            <p:ph type="body" sz="quarter" idx="3"/>
          </p:nvPr>
        </p:nvSpPr>
        <p:spPr/>
        <p:txBody>
          <a:bodyPr>
            <a:normAutofit/>
          </a:bodyPr>
          <a:lstStyle/>
          <a:p>
            <a:pPr>
              <a:spcBef>
                <a:spcPct val="0"/>
              </a:spcBef>
            </a:pPr>
            <a:r>
              <a:rPr lang="en-GB" altLang="en-US" sz="2000" b="1" dirty="0"/>
              <a:t>Recommended BMI range (adults)</a:t>
            </a:r>
          </a:p>
          <a:p>
            <a:pPr>
              <a:spcBef>
                <a:spcPct val="0"/>
              </a:spcBef>
            </a:pPr>
            <a:endParaRPr lang="en-GB" altLang="en-US" sz="2000" b="1" dirty="0"/>
          </a:p>
          <a:p>
            <a:pPr>
              <a:spcBef>
                <a:spcPct val="0"/>
              </a:spcBef>
            </a:pPr>
            <a:r>
              <a:rPr lang="en-GB" altLang="en-US" sz="2000" dirty="0"/>
              <a:t>Less than 18.5 	Underweight</a:t>
            </a:r>
            <a:br>
              <a:rPr lang="en-GB" altLang="en-US" sz="2000" dirty="0"/>
            </a:br>
            <a:r>
              <a:rPr lang="en-GB" altLang="en-US" sz="2000" b="1" dirty="0">
                <a:solidFill>
                  <a:schemeClr val="accent6"/>
                </a:solidFill>
              </a:rPr>
              <a:t>18.5 to 25 	Desirable or healthy</a:t>
            </a:r>
          </a:p>
          <a:p>
            <a:pPr>
              <a:spcBef>
                <a:spcPct val="0"/>
              </a:spcBef>
            </a:pPr>
            <a:r>
              <a:rPr lang="en-GB" altLang="en-US" sz="2000" b="1" dirty="0">
                <a:solidFill>
                  <a:schemeClr val="accent6"/>
                </a:solidFill>
              </a:rPr>
              <a:t>                          range</a:t>
            </a:r>
            <a:br>
              <a:rPr lang="en-GB" altLang="en-US" sz="2000" dirty="0"/>
            </a:br>
            <a:r>
              <a:rPr lang="en-GB" altLang="en-US" sz="2000" dirty="0"/>
              <a:t>25-30 		Overweight</a:t>
            </a:r>
            <a:br>
              <a:rPr lang="en-GB" altLang="en-US" sz="2000" dirty="0"/>
            </a:br>
            <a:r>
              <a:rPr lang="en-GB" altLang="en-US" sz="2000" dirty="0"/>
              <a:t>30-35		Obese (Class I)</a:t>
            </a:r>
            <a:br>
              <a:rPr lang="en-GB" altLang="en-US" sz="2000" dirty="0"/>
            </a:br>
            <a:r>
              <a:rPr lang="en-GB" altLang="en-US" sz="2000" dirty="0"/>
              <a:t>35-40 		Obese (Class II)</a:t>
            </a:r>
            <a:br>
              <a:rPr lang="en-GB" altLang="en-US" sz="2000" dirty="0"/>
            </a:br>
            <a:r>
              <a:rPr lang="en-GB" altLang="en-US" sz="2000" dirty="0"/>
              <a:t>Over 40 	Morbidly or severely </a:t>
            </a:r>
          </a:p>
          <a:p>
            <a:pPr>
              <a:spcBef>
                <a:spcPct val="0"/>
              </a:spcBef>
            </a:pPr>
            <a:r>
              <a:rPr lang="en-GB" altLang="en-US" sz="2000" dirty="0"/>
              <a:t>                          obese (Class III)</a:t>
            </a:r>
            <a:endParaRPr lang="en-US" altLang="en-US" sz="2000" dirty="0"/>
          </a:p>
          <a:p>
            <a:endParaRPr lang="en-GB" dirty="0"/>
          </a:p>
        </p:txBody>
      </p:sp>
      <p:sp>
        <p:nvSpPr>
          <p:cNvPr id="4" name="Title 3"/>
          <p:cNvSpPr>
            <a:spLocks noGrp="1"/>
          </p:cNvSpPr>
          <p:nvPr>
            <p:ph type="title"/>
          </p:nvPr>
        </p:nvSpPr>
        <p:spPr/>
        <p:txBody>
          <a:bodyPr/>
          <a:lstStyle/>
          <a:p>
            <a:r>
              <a:rPr lang="en-GB" dirty="0"/>
              <a:t>Body Mass Index (BMI) </a:t>
            </a:r>
          </a:p>
        </p:txBody>
      </p:sp>
    </p:spTree>
    <p:extLst>
      <p:ext uri="{BB962C8B-B14F-4D97-AF65-F5344CB8AC3E}">
        <p14:creationId xmlns:p14="http://schemas.microsoft.com/office/powerpoint/2010/main" val="22131710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Calculating BMI – worked example</a:t>
            </a:r>
            <a:endParaRPr lang="en-US" dirty="0"/>
          </a:p>
        </p:txBody>
      </p:sp>
      <p:sp>
        <p:nvSpPr>
          <p:cNvPr id="4" name="Rectangle 4"/>
          <p:cNvSpPr>
            <a:spLocks noChangeArrowheads="1"/>
          </p:cNvSpPr>
          <p:nvPr/>
        </p:nvSpPr>
        <p:spPr bwMode="auto">
          <a:xfrm>
            <a:off x="2124075" y="2628900"/>
            <a:ext cx="2447925" cy="2862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en-US" sz="2000" b="1" dirty="0">
                <a:latin typeface="Arial" panose="020B0604020202020204" pitchFamily="34" charset="0"/>
                <a:cs typeface="Arial" panose="020B0604020202020204" pitchFamily="34" charset="0"/>
              </a:rPr>
              <a:t>William</a:t>
            </a:r>
          </a:p>
          <a:p>
            <a:pPr eaLnBrk="1" hangingPunct="1"/>
            <a:endParaRPr lang="en-GB" altLang="en-US" sz="2000" dirty="0">
              <a:latin typeface="Arial" panose="020B0604020202020204" pitchFamily="34" charset="0"/>
              <a:cs typeface="Arial" panose="020B0604020202020204" pitchFamily="34" charset="0"/>
            </a:endParaRPr>
          </a:p>
          <a:p>
            <a:pPr eaLnBrk="1" hangingPunct="1"/>
            <a:r>
              <a:rPr lang="en-GB" altLang="en-US" sz="2000" dirty="0">
                <a:latin typeface="Arial" panose="020B0604020202020204" pitchFamily="34" charset="0"/>
                <a:cs typeface="Arial" panose="020B0604020202020204" pitchFamily="34" charset="0"/>
              </a:rPr>
              <a:t>Height: 1.75m</a:t>
            </a:r>
          </a:p>
          <a:p>
            <a:pPr eaLnBrk="1" hangingPunct="1"/>
            <a:endParaRPr lang="en-GB" altLang="en-US" sz="2000" dirty="0">
              <a:latin typeface="Arial" panose="020B0604020202020204" pitchFamily="34" charset="0"/>
              <a:cs typeface="Arial" panose="020B0604020202020204" pitchFamily="34" charset="0"/>
            </a:endParaRPr>
          </a:p>
          <a:p>
            <a:pPr eaLnBrk="1" hangingPunct="1"/>
            <a:r>
              <a:rPr lang="en-GB" altLang="en-US" sz="2000" dirty="0">
                <a:latin typeface="Arial" panose="020B0604020202020204" pitchFamily="34" charset="0"/>
                <a:cs typeface="Arial" panose="020B0604020202020204" pitchFamily="34" charset="0"/>
              </a:rPr>
              <a:t>Weight: 80kg</a:t>
            </a:r>
          </a:p>
          <a:p>
            <a:pPr eaLnBrk="1" hangingPunct="1"/>
            <a:endParaRPr lang="en-GB" altLang="en-US" sz="2000" dirty="0">
              <a:latin typeface="Arial" panose="020B0604020202020204" pitchFamily="34" charset="0"/>
              <a:cs typeface="Arial" panose="020B0604020202020204" pitchFamily="34" charset="0"/>
            </a:endParaRPr>
          </a:p>
          <a:p>
            <a:pPr eaLnBrk="1" hangingPunct="1"/>
            <a:endParaRPr lang="en-GB" altLang="en-US" sz="2000" dirty="0">
              <a:latin typeface="Arial" panose="020B0604020202020204" pitchFamily="34" charset="0"/>
              <a:cs typeface="Arial" panose="020B0604020202020204" pitchFamily="34" charset="0"/>
            </a:endParaRPr>
          </a:p>
          <a:p>
            <a:pPr eaLnBrk="1" hangingPunct="1"/>
            <a:r>
              <a:rPr lang="en-GB" altLang="en-US" sz="2000" dirty="0">
                <a:latin typeface="Arial" panose="020B0604020202020204" pitchFamily="34" charset="0"/>
                <a:cs typeface="Arial" panose="020B0604020202020204" pitchFamily="34" charset="0"/>
              </a:rPr>
              <a:t>      BMI =</a:t>
            </a:r>
          </a:p>
          <a:p>
            <a:pPr eaLnBrk="1" hangingPunct="1"/>
            <a:endParaRPr lang="en-GB" altLang="en-US" sz="2000" dirty="0">
              <a:latin typeface="Arial" panose="020B0604020202020204" pitchFamily="34" charset="0"/>
              <a:cs typeface="Arial" panose="020B0604020202020204" pitchFamily="34" charset="0"/>
            </a:endParaRPr>
          </a:p>
        </p:txBody>
      </p:sp>
      <p:grpSp>
        <p:nvGrpSpPr>
          <p:cNvPr id="5" name="Group 5"/>
          <p:cNvGrpSpPr>
            <a:grpSpLocks/>
          </p:cNvGrpSpPr>
          <p:nvPr/>
        </p:nvGrpSpPr>
        <p:grpSpPr bwMode="auto">
          <a:xfrm>
            <a:off x="3490654" y="4548869"/>
            <a:ext cx="2881313" cy="975498"/>
            <a:chOff x="1547664" y="4005064"/>
            <a:chExt cx="3528392" cy="976980"/>
          </a:xfrm>
        </p:grpSpPr>
        <p:sp>
          <p:nvSpPr>
            <p:cNvPr id="6" name="Text Box 6"/>
            <p:cNvSpPr txBox="1">
              <a:spLocks noChangeArrowheads="1"/>
            </p:cNvSpPr>
            <p:nvPr/>
          </p:nvSpPr>
          <p:spPr bwMode="auto">
            <a:xfrm>
              <a:off x="2195364" y="4005064"/>
              <a:ext cx="1761205" cy="400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en-US" sz="2000">
                  <a:latin typeface="Arial" panose="020B0604020202020204" pitchFamily="34" charset="0"/>
                  <a:cs typeface="Arial" panose="020B0604020202020204" pitchFamily="34" charset="0"/>
                </a:rPr>
                <a:t>weight (kg)</a:t>
              </a:r>
            </a:p>
          </p:txBody>
        </p:sp>
        <p:sp>
          <p:nvSpPr>
            <p:cNvPr id="7" name="Text Box 7"/>
            <p:cNvSpPr txBox="1">
              <a:spLocks noChangeArrowheads="1"/>
            </p:cNvSpPr>
            <p:nvPr/>
          </p:nvSpPr>
          <p:spPr bwMode="auto">
            <a:xfrm>
              <a:off x="1547664" y="4581326"/>
              <a:ext cx="3378719" cy="400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20000"/>
                </a:spcBef>
              </a:pPr>
              <a:r>
                <a:rPr lang="en-GB" altLang="en-US" sz="2000">
                  <a:latin typeface="Arial" panose="020B0604020202020204" pitchFamily="34" charset="0"/>
                  <a:cs typeface="Arial" panose="020B0604020202020204" pitchFamily="34" charset="0"/>
                </a:rPr>
                <a:t>height (m) x height (m)</a:t>
              </a:r>
            </a:p>
          </p:txBody>
        </p:sp>
        <p:sp>
          <p:nvSpPr>
            <p:cNvPr id="8" name="Line 8"/>
            <p:cNvSpPr>
              <a:spLocks noChangeShapeType="1"/>
            </p:cNvSpPr>
            <p:nvPr/>
          </p:nvSpPr>
          <p:spPr bwMode="auto">
            <a:xfrm>
              <a:off x="1619101" y="4521001"/>
              <a:ext cx="3456955"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2000">
                <a:latin typeface="Arial" panose="020B0604020202020204" pitchFamily="34" charset="0"/>
                <a:cs typeface="Arial" panose="020B0604020202020204" pitchFamily="34" charset="0"/>
              </a:endParaRPr>
            </a:p>
          </p:txBody>
        </p:sp>
      </p:grpSp>
      <p:sp>
        <p:nvSpPr>
          <p:cNvPr id="9" name="Rectangle 9"/>
          <p:cNvSpPr>
            <a:spLocks noChangeArrowheads="1"/>
          </p:cNvSpPr>
          <p:nvPr/>
        </p:nvSpPr>
        <p:spPr bwMode="auto">
          <a:xfrm>
            <a:off x="5508625" y="2646362"/>
            <a:ext cx="2447925" cy="1631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en-US" sz="2000" b="1">
                <a:latin typeface="Arial" panose="020B0604020202020204" pitchFamily="34" charset="0"/>
                <a:cs typeface="Arial" panose="020B0604020202020204" pitchFamily="34" charset="0"/>
              </a:rPr>
              <a:t>Jane</a:t>
            </a:r>
          </a:p>
          <a:p>
            <a:pPr eaLnBrk="1" hangingPunct="1"/>
            <a:endParaRPr lang="en-GB" altLang="en-US" sz="2000">
              <a:latin typeface="Arial" panose="020B0604020202020204" pitchFamily="34" charset="0"/>
              <a:cs typeface="Arial" panose="020B0604020202020204" pitchFamily="34" charset="0"/>
            </a:endParaRPr>
          </a:p>
          <a:p>
            <a:pPr eaLnBrk="1" hangingPunct="1"/>
            <a:r>
              <a:rPr lang="en-GB" altLang="en-US" sz="2000">
                <a:latin typeface="Arial" panose="020B0604020202020204" pitchFamily="34" charset="0"/>
                <a:cs typeface="Arial" panose="020B0604020202020204" pitchFamily="34" charset="0"/>
              </a:rPr>
              <a:t>Height: 1.56m</a:t>
            </a:r>
          </a:p>
          <a:p>
            <a:pPr eaLnBrk="1" hangingPunct="1"/>
            <a:endParaRPr lang="en-GB" altLang="en-US" sz="2000">
              <a:latin typeface="Arial" panose="020B0604020202020204" pitchFamily="34" charset="0"/>
              <a:cs typeface="Arial" panose="020B0604020202020204" pitchFamily="34" charset="0"/>
            </a:endParaRPr>
          </a:p>
          <a:p>
            <a:pPr eaLnBrk="1" hangingPunct="1"/>
            <a:r>
              <a:rPr lang="en-GB" altLang="en-US" sz="2000">
                <a:latin typeface="Arial" panose="020B0604020202020204" pitchFamily="34" charset="0"/>
                <a:cs typeface="Arial" panose="020B0604020202020204" pitchFamily="34" charset="0"/>
              </a:rPr>
              <a:t>Weight: 48kg</a:t>
            </a:r>
          </a:p>
        </p:txBody>
      </p:sp>
      <p:sp>
        <p:nvSpPr>
          <p:cNvPr id="10" name="Rectangle 9"/>
          <p:cNvSpPr/>
          <p:nvPr/>
        </p:nvSpPr>
        <p:spPr>
          <a:xfrm>
            <a:off x="2208028" y="5637512"/>
            <a:ext cx="6096000" cy="707886"/>
          </a:xfrm>
          <a:prstGeom prst="rect">
            <a:avLst/>
          </a:prstGeom>
        </p:spPr>
        <p:txBody>
          <a:bodyPr>
            <a:spAutoFit/>
          </a:bodyPr>
          <a:lstStyle/>
          <a:p>
            <a:pPr>
              <a:spcBef>
                <a:spcPct val="0"/>
              </a:spcBef>
            </a:pPr>
            <a:r>
              <a:rPr lang="en-GB" altLang="en-US" sz="2000" b="1" dirty="0">
                <a:latin typeface="Arial" panose="020B0604020202020204" pitchFamily="34" charset="0"/>
                <a:cs typeface="Arial" panose="020B0604020202020204" pitchFamily="34" charset="0"/>
              </a:rPr>
              <a:t>= 26.1              			= 19.7</a:t>
            </a:r>
          </a:p>
          <a:p>
            <a:pPr>
              <a:spcBef>
                <a:spcPct val="0"/>
              </a:spcBef>
            </a:pPr>
            <a:r>
              <a:rPr lang="en-GB" altLang="en-US" sz="2000" b="1" dirty="0">
                <a:latin typeface="Arial" panose="020B0604020202020204" pitchFamily="34" charset="0"/>
                <a:cs typeface="Arial" panose="020B0604020202020204" pitchFamily="34" charset="0"/>
              </a:rPr>
              <a:t>(overweight)			(normal)</a:t>
            </a:r>
          </a:p>
        </p:txBody>
      </p:sp>
      <p:sp>
        <p:nvSpPr>
          <p:cNvPr id="11" name="Text Placeholder 1"/>
          <p:cNvSpPr>
            <a:spLocks/>
          </p:cNvSpPr>
          <p:nvPr/>
        </p:nvSpPr>
        <p:spPr bwMode="auto">
          <a:xfrm>
            <a:off x="7474300" y="4256051"/>
            <a:ext cx="4392613" cy="2238375"/>
          </a:xfrm>
          <a:prstGeom prst="roundRect">
            <a:avLst>
              <a:gd name="adj" fmla="val 9366"/>
            </a:avLst>
          </a:prstGeom>
          <a:solidFill>
            <a:srgbClr val="FCE3C2"/>
          </a:solidFill>
          <a:ln w="25400">
            <a:solidFill>
              <a:schemeClr val="tx1"/>
            </a:solidFill>
            <a:round/>
            <a:headEnd/>
            <a:tailEnd/>
          </a:ln>
        </p:spPr>
        <p:txBody>
          <a:bodyPr lIns="180000" tIns="90000" rIns="180000" bIns="90000"/>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buFont typeface="Arial" charset="0"/>
              <a:buNone/>
            </a:pPr>
            <a:r>
              <a:rPr lang="en-GB" altLang="en-US" b="1" dirty="0">
                <a:latin typeface="Arial" panose="020B0604020202020204" pitchFamily="34" charset="0"/>
                <a:cs typeface="Arial" panose="020B0604020202020204" pitchFamily="34" charset="0"/>
              </a:rPr>
              <a:t>Recommended BMI range</a:t>
            </a:r>
          </a:p>
          <a:p>
            <a:pPr>
              <a:buFont typeface="Arial" charset="0"/>
              <a:buNone/>
            </a:pPr>
            <a:endParaRPr lang="en-GB" altLang="en-US" dirty="0">
              <a:latin typeface="Arial" panose="020B0604020202020204" pitchFamily="34" charset="0"/>
              <a:cs typeface="Arial" panose="020B0604020202020204" pitchFamily="34" charset="0"/>
            </a:endParaRPr>
          </a:p>
          <a:p>
            <a:pPr>
              <a:buFont typeface="Arial" charset="0"/>
              <a:buNone/>
            </a:pPr>
            <a:r>
              <a:rPr lang="en-GB" altLang="en-US" dirty="0">
                <a:latin typeface="Arial" panose="020B0604020202020204" pitchFamily="34" charset="0"/>
                <a:cs typeface="Arial" panose="020B0604020202020204" pitchFamily="34" charset="0"/>
              </a:rPr>
              <a:t>Underweight	less than 18.5</a:t>
            </a:r>
          </a:p>
          <a:p>
            <a:pPr>
              <a:buFont typeface="Arial" charset="0"/>
              <a:buNone/>
            </a:pPr>
            <a:r>
              <a:rPr lang="en-GB" altLang="en-US" dirty="0">
                <a:latin typeface="Arial" panose="020B0604020202020204" pitchFamily="34" charset="0"/>
                <a:cs typeface="Arial" panose="020B0604020202020204" pitchFamily="34" charset="0"/>
              </a:rPr>
              <a:t>Normal		18.5 -  less than 25</a:t>
            </a:r>
          </a:p>
          <a:p>
            <a:pPr>
              <a:buFont typeface="Arial" charset="0"/>
              <a:buNone/>
            </a:pPr>
            <a:r>
              <a:rPr lang="en-GB" altLang="en-US" dirty="0">
                <a:latin typeface="Arial" panose="020B0604020202020204" pitchFamily="34" charset="0"/>
                <a:cs typeface="Arial" panose="020B0604020202020204" pitchFamily="34" charset="0"/>
              </a:rPr>
              <a:t>Overweight	25 - less than 30</a:t>
            </a:r>
          </a:p>
          <a:p>
            <a:pPr>
              <a:buFont typeface="Arial" charset="0"/>
              <a:buNone/>
            </a:pPr>
            <a:r>
              <a:rPr lang="en-GB" altLang="en-US" dirty="0">
                <a:latin typeface="Arial" panose="020B0604020202020204" pitchFamily="34" charset="0"/>
                <a:cs typeface="Arial" panose="020B0604020202020204" pitchFamily="34" charset="0"/>
              </a:rPr>
              <a:t>Obese		30 - 40</a:t>
            </a:r>
          </a:p>
          <a:p>
            <a:pPr>
              <a:buFont typeface="Arial" charset="0"/>
              <a:buNone/>
            </a:pPr>
            <a:r>
              <a:rPr lang="en-GB" altLang="en-US" dirty="0">
                <a:latin typeface="Arial" panose="020B0604020202020204" pitchFamily="34" charset="0"/>
                <a:cs typeface="Arial" panose="020B0604020202020204" pitchFamily="34" charset="0"/>
              </a:rPr>
              <a:t>Very obese	over 40</a:t>
            </a:r>
          </a:p>
          <a:p>
            <a:pPr>
              <a:buFont typeface="Arial" charset="0"/>
              <a:buNone/>
            </a:pPr>
            <a:endParaRPr lang="en-GB" alt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685975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BMI calculation</a:t>
            </a:r>
          </a:p>
        </p:txBody>
      </p:sp>
      <p:sp>
        <p:nvSpPr>
          <p:cNvPr id="3" name="Subtitle 2"/>
          <p:cNvSpPr>
            <a:spLocks noGrp="1"/>
          </p:cNvSpPr>
          <p:nvPr>
            <p:ph type="subTitle" idx="1"/>
          </p:nvPr>
        </p:nvSpPr>
        <p:spPr/>
        <p:txBody>
          <a:bodyPr/>
          <a:lstStyle/>
          <a:p>
            <a:pPr marL="0" indent="0">
              <a:buNone/>
            </a:pPr>
            <a:r>
              <a:rPr lang="en-US" altLang="en-US" sz="2000" dirty="0"/>
              <a:t>Calculate the BMI. Click the </a:t>
            </a:r>
            <a:r>
              <a:rPr lang="en-US" altLang="en-US" sz="2000" dirty="0" err="1"/>
              <a:t>colour</a:t>
            </a:r>
            <a:r>
              <a:rPr lang="en-US" altLang="en-US" sz="2000" dirty="0"/>
              <a:t> blocks to reveal the answers.</a:t>
            </a:r>
          </a:p>
          <a:p>
            <a:pPr marL="0" indent="0">
              <a:buNone/>
            </a:pPr>
            <a:endParaRPr lang="en-US" altLang="en-US" sz="2000" dirty="0"/>
          </a:p>
          <a:p>
            <a:pPr marL="0" indent="0">
              <a:buNone/>
            </a:pPr>
            <a:r>
              <a:rPr lang="en-GB" sz="2000" dirty="0"/>
              <a:t>51kg				82kg			     	78kg	</a:t>
            </a:r>
          </a:p>
          <a:p>
            <a:pPr marL="0" indent="0">
              <a:buNone/>
            </a:pPr>
            <a:r>
              <a:rPr lang="en-GB" sz="2000" dirty="0"/>
              <a:t>1.7m x 1.7m			1.95m x 1.95m		      	1.63m x 1.63m</a:t>
            </a:r>
          </a:p>
          <a:p>
            <a:pPr marL="0" indent="0">
              <a:buNone/>
            </a:pPr>
            <a:r>
              <a:rPr lang="en-GB" sz="2000" dirty="0"/>
              <a:t>= 17.6 BMI			= 21.6 BMI			= 29.4 BMI</a:t>
            </a:r>
          </a:p>
          <a:p>
            <a:pPr marL="0" indent="0">
              <a:buNone/>
            </a:pPr>
            <a:r>
              <a:rPr lang="en-GB" sz="2000" dirty="0"/>
              <a:t>Underweight			healthy weight			overweight</a:t>
            </a:r>
          </a:p>
        </p:txBody>
      </p:sp>
      <p:sp>
        <p:nvSpPr>
          <p:cNvPr id="4" name="TextBox 3"/>
          <p:cNvSpPr txBox="1"/>
          <p:nvPr/>
        </p:nvSpPr>
        <p:spPr>
          <a:xfrm>
            <a:off x="1169276" y="3283026"/>
            <a:ext cx="2667000" cy="1631216"/>
          </a:xfrm>
          <a:prstGeom prst="rect">
            <a:avLst/>
          </a:prstGeom>
          <a:solidFill>
            <a:srgbClr val="FCE3C2"/>
          </a:solidFill>
        </p:spPr>
        <p:txBody>
          <a:bodyPr wrap="square" rtlCol="0">
            <a:spAutoFit/>
          </a:bodyPr>
          <a:lstStyle/>
          <a:p>
            <a:pPr marL="457200" indent="-457200">
              <a:buAutoNum type="arabicPeriod"/>
            </a:pPr>
            <a:r>
              <a:rPr lang="en-GB" sz="2000" b="1" dirty="0">
                <a:latin typeface="Arial" panose="020B0604020202020204" pitchFamily="34" charset="0"/>
                <a:cs typeface="Arial" panose="020B0604020202020204" pitchFamily="34" charset="0"/>
              </a:rPr>
              <a:t>Samantha</a:t>
            </a:r>
          </a:p>
          <a:p>
            <a:endParaRPr lang="en-GB" sz="2000" b="1" dirty="0">
              <a:latin typeface="Arial" panose="020B0604020202020204" pitchFamily="34" charset="0"/>
              <a:cs typeface="Arial" panose="020B0604020202020204" pitchFamily="34" charset="0"/>
            </a:endParaRPr>
          </a:p>
          <a:p>
            <a:r>
              <a:rPr lang="en-GB" sz="2000" b="1" dirty="0">
                <a:latin typeface="Arial" panose="020B0604020202020204" pitchFamily="34" charset="0"/>
                <a:cs typeface="Arial" panose="020B0604020202020204" pitchFamily="34" charset="0"/>
              </a:rPr>
              <a:t>Height: 1.70m</a:t>
            </a:r>
          </a:p>
          <a:p>
            <a:endParaRPr lang="en-GB" sz="2000" b="1" dirty="0">
              <a:latin typeface="Arial" panose="020B0604020202020204" pitchFamily="34" charset="0"/>
              <a:cs typeface="Arial" panose="020B0604020202020204" pitchFamily="34" charset="0"/>
            </a:endParaRPr>
          </a:p>
          <a:p>
            <a:r>
              <a:rPr lang="en-GB" sz="2000" b="1" dirty="0">
                <a:latin typeface="Arial" panose="020B0604020202020204" pitchFamily="34" charset="0"/>
                <a:cs typeface="Arial" panose="020B0604020202020204" pitchFamily="34" charset="0"/>
              </a:rPr>
              <a:t>Weight: 51kg </a:t>
            </a:r>
          </a:p>
        </p:txBody>
      </p:sp>
      <p:sp>
        <p:nvSpPr>
          <p:cNvPr id="7" name="TextBox 6"/>
          <p:cNvSpPr txBox="1"/>
          <p:nvPr/>
        </p:nvSpPr>
        <p:spPr>
          <a:xfrm>
            <a:off x="4426828" y="3283026"/>
            <a:ext cx="2667000" cy="1631216"/>
          </a:xfrm>
          <a:prstGeom prst="rect">
            <a:avLst/>
          </a:prstGeom>
          <a:solidFill>
            <a:srgbClr val="FCE3C2"/>
          </a:solidFill>
        </p:spPr>
        <p:txBody>
          <a:bodyPr wrap="square" rtlCol="0">
            <a:spAutoFit/>
          </a:bodyPr>
          <a:lstStyle/>
          <a:p>
            <a:r>
              <a:rPr lang="en-GB" sz="2000" b="1" dirty="0">
                <a:latin typeface="Arial" panose="020B0604020202020204" pitchFamily="34" charset="0"/>
                <a:cs typeface="Arial" panose="020B0604020202020204" pitchFamily="34" charset="0"/>
              </a:rPr>
              <a:t>2.  Rashid</a:t>
            </a:r>
          </a:p>
          <a:p>
            <a:endParaRPr lang="en-GB" sz="2000" b="1" dirty="0">
              <a:latin typeface="Arial" panose="020B0604020202020204" pitchFamily="34" charset="0"/>
              <a:cs typeface="Arial" panose="020B0604020202020204" pitchFamily="34" charset="0"/>
            </a:endParaRPr>
          </a:p>
          <a:p>
            <a:r>
              <a:rPr lang="en-GB" sz="2000" b="1" dirty="0">
                <a:latin typeface="Arial" panose="020B0604020202020204" pitchFamily="34" charset="0"/>
                <a:cs typeface="Arial" panose="020B0604020202020204" pitchFamily="34" charset="0"/>
              </a:rPr>
              <a:t>Height: 1.95m</a:t>
            </a:r>
          </a:p>
          <a:p>
            <a:endParaRPr lang="en-GB" sz="2000" b="1" dirty="0">
              <a:latin typeface="Arial" panose="020B0604020202020204" pitchFamily="34" charset="0"/>
              <a:cs typeface="Arial" panose="020B0604020202020204" pitchFamily="34" charset="0"/>
            </a:endParaRPr>
          </a:p>
          <a:p>
            <a:r>
              <a:rPr lang="en-GB" sz="2000" b="1" dirty="0">
                <a:latin typeface="Arial" panose="020B0604020202020204" pitchFamily="34" charset="0"/>
                <a:cs typeface="Arial" panose="020B0604020202020204" pitchFamily="34" charset="0"/>
              </a:rPr>
              <a:t>Weight: 82kg</a:t>
            </a:r>
          </a:p>
        </p:txBody>
      </p:sp>
      <p:sp>
        <p:nvSpPr>
          <p:cNvPr id="8" name="TextBox 7"/>
          <p:cNvSpPr txBox="1"/>
          <p:nvPr/>
        </p:nvSpPr>
        <p:spPr>
          <a:xfrm>
            <a:off x="7684378" y="3283026"/>
            <a:ext cx="2667000" cy="1631216"/>
          </a:xfrm>
          <a:prstGeom prst="rect">
            <a:avLst/>
          </a:prstGeom>
          <a:solidFill>
            <a:srgbClr val="FCE3C2"/>
          </a:solidFill>
        </p:spPr>
        <p:txBody>
          <a:bodyPr wrap="square" rtlCol="0">
            <a:spAutoFit/>
          </a:bodyPr>
          <a:lstStyle/>
          <a:p>
            <a:r>
              <a:rPr lang="en-GB" sz="2000" b="1" dirty="0">
                <a:latin typeface="Arial" panose="020B0604020202020204" pitchFamily="34" charset="0"/>
                <a:cs typeface="Arial" panose="020B0604020202020204" pitchFamily="34" charset="0"/>
              </a:rPr>
              <a:t>3.  Ahmad</a:t>
            </a:r>
          </a:p>
          <a:p>
            <a:endParaRPr lang="en-GB" sz="2000" b="1" dirty="0">
              <a:latin typeface="Arial" panose="020B0604020202020204" pitchFamily="34" charset="0"/>
              <a:cs typeface="Arial" panose="020B0604020202020204" pitchFamily="34" charset="0"/>
            </a:endParaRPr>
          </a:p>
          <a:p>
            <a:r>
              <a:rPr lang="en-GB" sz="2000" b="1" dirty="0">
                <a:latin typeface="Arial" panose="020B0604020202020204" pitchFamily="34" charset="0"/>
                <a:cs typeface="Arial" panose="020B0604020202020204" pitchFamily="34" charset="0"/>
              </a:rPr>
              <a:t>Height: 1.63m</a:t>
            </a:r>
          </a:p>
          <a:p>
            <a:endParaRPr lang="en-GB" sz="2000" b="1" dirty="0">
              <a:latin typeface="Arial" panose="020B0604020202020204" pitchFamily="34" charset="0"/>
              <a:cs typeface="Arial" panose="020B0604020202020204" pitchFamily="34" charset="0"/>
            </a:endParaRPr>
          </a:p>
          <a:p>
            <a:r>
              <a:rPr lang="en-GB" sz="2000" b="1" dirty="0">
                <a:latin typeface="Arial" panose="020B0604020202020204" pitchFamily="34" charset="0"/>
                <a:cs typeface="Arial" panose="020B0604020202020204" pitchFamily="34" charset="0"/>
              </a:rPr>
              <a:t>Weight: 78kg</a:t>
            </a:r>
          </a:p>
        </p:txBody>
      </p:sp>
      <p:pic>
        <p:nvPicPr>
          <p:cNvPr id="6" name="Picture 5">
            <a:extLst>
              <a:ext uri="{FF2B5EF4-FFF2-40B4-BE49-F238E27FC236}">
                <a16:creationId xmlns:a16="http://schemas.microsoft.com/office/drawing/2014/main" id="{26C46A66-8DB3-C403-A6BE-9F1FBBCB20B9}"/>
              </a:ext>
            </a:extLst>
          </p:cNvPr>
          <p:cNvPicPr>
            <a:picLocks noChangeAspect="1"/>
          </p:cNvPicPr>
          <p:nvPr/>
        </p:nvPicPr>
        <p:blipFill>
          <a:blip r:embed="rId2"/>
          <a:stretch>
            <a:fillRect/>
          </a:stretch>
        </p:blipFill>
        <p:spPr>
          <a:xfrm>
            <a:off x="276813" y="5390454"/>
            <a:ext cx="3686175" cy="1152525"/>
          </a:xfrm>
          <a:prstGeom prst="rect">
            <a:avLst/>
          </a:prstGeom>
          <a:ln>
            <a:solidFill>
              <a:schemeClr val="tx1"/>
            </a:solidFill>
          </a:ln>
        </p:spPr>
      </p:pic>
    </p:spTree>
    <p:extLst>
      <p:ext uri="{BB962C8B-B14F-4D97-AF65-F5344CB8AC3E}">
        <p14:creationId xmlns:p14="http://schemas.microsoft.com/office/powerpoint/2010/main" val="1587087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0" nodeType="clickEffect">
                                  <p:stCondLst>
                                    <p:cond delay="0"/>
                                  </p:stCondLst>
                                  <p:childTnLst>
                                    <p:animEffect transition="out" filter="fade">
                                      <p:cBhvr>
                                        <p:cTn id="11" dur="500"/>
                                        <p:tgtEl>
                                          <p:spTgt spid="7"/>
                                        </p:tgtEl>
                                      </p:cBhvr>
                                    </p:animEffect>
                                    <p:set>
                                      <p:cBhvr>
                                        <p:cTn id="12" dur="1" fill="hold">
                                          <p:stCondLst>
                                            <p:cond delay="499"/>
                                          </p:stCondLst>
                                        </p:cTn>
                                        <p:tgtEl>
                                          <p:spTgt spid="7"/>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0" nodeType="clickEffect">
                                  <p:stCondLst>
                                    <p:cond delay="0"/>
                                  </p:stCondLst>
                                  <p:childTnLst>
                                    <p:animEffect transition="out" filter="fade">
                                      <p:cBhvr>
                                        <p:cTn id="16" dur="500"/>
                                        <p:tgtEl>
                                          <p:spTgt spid="8"/>
                                        </p:tgtEl>
                                      </p:cBhvr>
                                    </p:animEffect>
                                    <p:set>
                                      <p:cBhvr>
                                        <p:cTn id="17" dur="1" fill="hold">
                                          <p:stCondLst>
                                            <p:cond delay="499"/>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P spid="8"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87C79-2277-C6F4-4657-97C5EA3DB783}"/>
              </a:ext>
            </a:extLst>
          </p:cNvPr>
          <p:cNvSpPr>
            <a:spLocks noGrp="1"/>
          </p:cNvSpPr>
          <p:nvPr>
            <p:ph type="ctrTitle"/>
          </p:nvPr>
        </p:nvSpPr>
        <p:spPr/>
        <p:txBody>
          <a:bodyPr/>
          <a:lstStyle/>
          <a:p>
            <a:r>
              <a:rPr lang="en-GB" dirty="0"/>
              <a:t>Healthy food leaflet</a:t>
            </a:r>
          </a:p>
        </p:txBody>
      </p:sp>
      <p:sp>
        <p:nvSpPr>
          <p:cNvPr id="3" name="Subtitle 2">
            <a:extLst>
              <a:ext uri="{FF2B5EF4-FFF2-40B4-BE49-F238E27FC236}">
                <a16:creationId xmlns:a16="http://schemas.microsoft.com/office/drawing/2014/main" id="{871FADD7-5CFD-68C9-851C-B6F4AD15AF0A}"/>
              </a:ext>
            </a:extLst>
          </p:cNvPr>
          <p:cNvSpPr>
            <a:spLocks noGrp="1"/>
          </p:cNvSpPr>
          <p:nvPr>
            <p:ph type="subTitle" idx="1"/>
          </p:nvPr>
        </p:nvSpPr>
        <p:spPr>
          <a:xfrm>
            <a:off x="1169276" y="2571092"/>
            <a:ext cx="9720000" cy="2956405"/>
          </a:xfrm>
        </p:spPr>
        <p:txBody>
          <a:bodyPr/>
          <a:lstStyle/>
          <a:p>
            <a:pPr marL="0" indent="0">
              <a:buNone/>
            </a:pPr>
            <a:r>
              <a:rPr lang="en-GB" dirty="0"/>
              <a:t>Create a leaflet to go in a doctor’s waiting area which describes the importance of a healthy balanced diet. Include:</a:t>
            </a:r>
          </a:p>
          <a:p>
            <a:r>
              <a:rPr lang="en-GB" dirty="0"/>
              <a:t>What a healthy balanced diet is</a:t>
            </a:r>
          </a:p>
          <a:p>
            <a:r>
              <a:rPr lang="en-GB" dirty="0"/>
              <a:t>How you can balance energy intake</a:t>
            </a:r>
          </a:p>
          <a:p>
            <a:r>
              <a:rPr lang="en-GB" dirty="0"/>
              <a:t>What the dangers of an unhealthy diet are</a:t>
            </a:r>
          </a:p>
          <a:p>
            <a:r>
              <a:rPr lang="en-GB" dirty="0"/>
              <a:t>What BMI is</a:t>
            </a:r>
          </a:p>
          <a:p>
            <a:r>
              <a:rPr lang="en-GB" dirty="0"/>
              <a:t>How doctors can use BMI</a:t>
            </a:r>
          </a:p>
          <a:p>
            <a:endParaRPr lang="en-GB" dirty="0"/>
          </a:p>
          <a:p>
            <a:pPr marL="0" indent="0">
              <a:buNone/>
            </a:pPr>
            <a:r>
              <a:rPr lang="en-GB" dirty="0"/>
              <a:t>Make sure to include both overnutrition and undernutrition.</a:t>
            </a:r>
          </a:p>
        </p:txBody>
      </p:sp>
    </p:spTree>
    <p:extLst>
      <p:ext uri="{BB962C8B-B14F-4D97-AF65-F5344CB8AC3E}">
        <p14:creationId xmlns:p14="http://schemas.microsoft.com/office/powerpoint/2010/main" val="36617366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87C79-2277-C6F4-4657-97C5EA3DB783}"/>
              </a:ext>
            </a:extLst>
          </p:cNvPr>
          <p:cNvSpPr>
            <a:spLocks noGrp="1"/>
          </p:cNvSpPr>
          <p:nvPr>
            <p:ph type="ctrTitle"/>
          </p:nvPr>
        </p:nvSpPr>
        <p:spPr/>
        <p:txBody>
          <a:bodyPr/>
          <a:lstStyle/>
          <a:p>
            <a:r>
              <a:rPr lang="en-GB" dirty="0"/>
              <a:t>Healthy food leaflet – peer marking</a:t>
            </a:r>
          </a:p>
        </p:txBody>
      </p:sp>
      <p:sp>
        <p:nvSpPr>
          <p:cNvPr id="3" name="Subtitle 2">
            <a:extLst>
              <a:ext uri="{FF2B5EF4-FFF2-40B4-BE49-F238E27FC236}">
                <a16:creationId xmlns:a16="http://schemas.microsoft.com/office/drawing/2014/main" id="{871FADD7-5CFD-68C9-851C-B6F4AD15AF0A}"/>
              </a:ext>
            </a:extLst>
          </p:cNvPr>
          <p:cNvSpPr>
            <a:spLocks noGrp="1"/>
          </p:cNvSpPr>
          <p:nvPr>
            <p:ph type="subTitle" idx="1"/>
          </p:nvPr>
        </p:nvSpPr>
        <p:spPr>
          <a:xfrm>
            <a:off x="789132" y="2529996"/>
            <a:ext cx="4738364" cy="2956405"/>
          </a:xfrm>
        </p:spPr>
        <p:txBody>
          <a:bodyPr/>
          <a:lstStyle/>
          <a:p>
            <a:pPr marL="0" indent="0">
              <a:buNone/>
              <a:defRPr/>
            </a:pPr>
            <a:r>
              <a:rPr lang="en-GB" dirty="0"/>
              <a:t>Did it include…</a:t>
            </a:r>
          </a:p>
          <a:p>
            <a:r>
              <a:rPr lang="en-GB" dirty="0"/>
              <a:t>A description of what a healthy balanced diet is</a:t>
            </a:r>
          </a:p>
          <a:p>
            <a:r>
              <a:rPr lang="en-GB" dirty="0"/>
              <a:t>A description of energy balance</a:t>
            </a:r>
          </a:p>
          <a:p>
            <a:r>
              <a:rPr lang="en-GB" dirty="0"/>
              <a:t>Definition of overnutrition and undernutrition</a:t>
            </a:r>
          </a:p>
        </p:txBody>
      </p:sp>
      <p:pic>
        <p:nvPicPr>
          <p:cNvPr id="5" name="Picture 4">
            <a:extLst>
              <a:ext uri="{FF2B5EF4-FFF2-40B4-BE49-F238E27FC236}">
                <a16:creationId xmlns:a16="http://schemas.microsoft.com/office/drawing/2014/main" id="{C010D4A2-08D6-5500-8EBC-D661FF2AAA64}"/>
              </a:ext>
            </a:extLst>
          </p:cNvPr>
          <p:cNvPicPr>
            <a:picLocks noChangeAspect="1"/>
          </p:cNvPicPr>
          <p:nvPr/>
        </p:nvPicPr>
        <p:blipFill>
          <a:blip r:embed="rId2"/>
          <a:stretch>
            <a:fillRect/>
          </a:stretch>
        </p:blipFill>
        <p:spPr>
          <a:xfrm>
            <a:off x="7376605" y="3205456"/>
            <a:ext cx="3058194" cy="2088746"/>
          </a:xfrm>
          <a:prstGeom prst="rect">
            <a:avLst/>
          </a:prstGeom>
        </p:spPr>
      </p:pic>
    </p:spTree>
    <p:extLst>
      <p:ext uri="{BB962C8B-B14F-4D97-AF65-F5344CB8AC3E}">
        <p14:creationId xmlns:p14="http://schemas.microsoft.com/office/powerpoint/2010/main" val="28151259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9F38A-2811-8A0A-0903-F90C6CA9F351}"/>
              </a:ext>
            </a:extLst>
          </p:cNvPr>
          <p:cNvSpPr>
            <a:spLocks noGrp="1"/>
          </p:cNvSpPr>
          <p:nvPr>
            <p:ph type="ctrTitle"/>
          </p:nvPr>
        </p:nvSpPr>
        <p:spPr/>
        <p:txBody>
          <a:bodyPr/>
          <a:lstStyle/>
          <a:p>
            <a:r>
              <a:rPr lang="en-US" dirty="0">
                <a:latin typeface="Arial"/>
                <a:cs typeface="Arial"/>
              </a:rPr>
              <a:t>Homework - Diet diary</a:t>
            </a:r>
            <a:endParaRPr lang="en-US" dirty="0"/>
          </a:p>
        </p:txBody>
      </p:sp>
      <p:sp>
        <p:nvSpPr>
          <p:cNvPr id="4" name="TextBox 3">
            <a:extLst>
              <a:ext uri="{FF2B5EF4-FFF2-40B4-BE49-F238E27FC236}">
                <a16:creationId xmlns:a16="http://schemas.microsoft.com/office/drawing/2014/main" id="{B3D9D166-8F1D-39CD-D4E0-A3292451464C}"/>
              </a:ext>
            </a:extLst>
          </p:cNvPr>
          <p:cNvSpPr txBox="1"/>
          <p:nvPr/>
        </p:nvSpPr>
        <p:spPr>
          <a:xfrm>
            <a:off x="1042735" y="2283798"/>
            <a:ext cx="6662883" cy="3046988"/>
          </a:xfrm>
          <a:prstGeom prst="rect">
            <a:avLst/>
          </a:prstGeom>
          <a:noFill/>
        </p:spPr>
        <p:txBody>
          <a:bodyPr wrap="square">
            <a:spAutoFit/>
          </a:bodyPr>
          <a:lstStyle/>
          <a:p>
            <a:r>
              <a:rPr lang="en-GB" sz="2400" dirty="0">
                <a:latin typeface="Arial" panose="020B0604020202020204" pitchFamily="34" charset="0"/>
                <a:cs typeface="Arial" panose="020B0604020202020204" pitchFamily="34" charset="0"/>
              </a:rPr>
              <a:t>Keep a diary of what you eat for one day.</a:t>
            </a:r>
          </a:p>
          <a:p>
            <a:endParaRPr lang="en-GB" sz="2400" dirty="0">
              <a:latin typeface="Arial" panose="020B0604020202020204" pitchFamily="34" charset="0"/>
              <a:cs typeface="Arial" panose="020B0604020202020204" pitchFamily="34" charset="0"/>
            </a:endParaRPr>
          </a:p>
          <a:p>
            <a:r>
              <a:rPr lang="en-GB" sz="2400" dirty="0">
                <a:latin typeface="Arial" panose="020B0604020202020204" pitchFamily="34" charset="0"/>
                <a:cs typeface="Arial" panose="020B0604020202020204" pitchFamily="34" charset="0"/>
              </a:rPr>
              <a:t>Use the worksheet to record what food you eat and use Explore food (a nutritional analysis programme) to calculate the amount of energy and nutrients you have had over the day.</a:t>
            </a:r>
          </a:p>
          <a:p>
            <a:endParaRPr lang="en-GB" sz="2400" dirty="0">
              <a:latin typeface="Arial" panose="020B0604020202020204" pitchFamily="34" charset="0"/>
              <a:cs typeface="Arial" panose="020B0604020202020204" pitchFamily="34" charset="0"/>
            </a:endParaRPr>
          </a:p>
          <a:p>
            <a:r>
              <a:rPr lang="en-GB" sz="2400" dirty="0">
                <a:latin typeface="Arial" panose="020B0604020202020204" pitchFamily="34" charset="0"/>
                <a:cs typeface="Arial" panose="020B0604020202020204" pitchFamily="34" charset="0"/>
                <a:hlinkClick r:id="rId2"/>
              </a:rPr>
              <a:t>https://explorefood.foodafactoflife.org.uk/</a:t>
            </a:r>
            <a:r>
              <a:rPr lang="en-GB" sz="2400" dirty="0">
                <a:latin typeface="Arial" panose="020B0604020202020204" pitchFamily="34" charset="0"/>
                <a:cs typeface="Arial" panose="020B0604020202020204" pitchFamily="34" charset="0"/>
              </a:rPr>
              <a:t> </a:t>
            </a:r>
          </a:p>
        </p:txBody>
      </p:sp>
      <p:pic>
        <p:nvPicPr>
          <p:cNvPr id="5" name="Picture 4">
            <a:extLst>
              <a:ext uri="{FF2B5EF4-FFF2-40B4-BE49-F238E27FC236}">
                <a16:creationId xmlns:a16="http://schemas.microsoft.com/office/drawing/2014/main" id="{2621C845-531C-A682-31B7-9C6B406A8CBE}"/>
              </a:ext>
            </a:extLst>
          </p:cNvPr>
          <p:cNvPicPr>
            <a:picLocks noChangeAspect="1"/>
          </p:cNvPicPr>
          <p:nvPr/>
        </p:nvPicPr>
        <p:blipFill>
          <a:blip r:embed="rId3"/>
          <a:stretch>
            <a:fillRect/>
          </a:stretch>
        </p:blipFill>
        <p:spPr>
          <a:xfrm>
            <a:off x="8003568" y="1783533"/>
            <a:ext cx="3695272" cy="4648891"/>
          </a:xfrm>
          <a:prstGeom prst="rect">
            <a:avLst/>
          </a:prstGeom>
          <a:ln>
            <a:solidFill>
              <a:schemeClr val="tx1"/>
            </a:solidFill>
          </a:ln>
        </p:spPr>
      </p:pic>
    </p:spTree>
    <p:extLst>
      <p:ext uri="{BB962C8B-B14F-4D97-AF65-F5344CB8AC3E}">
        <p14:creationId xmlns:p14="http://schemas.microsoft.com/office/powerpoint/2010/main" val="36768886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en-US" dirty="0">
                <a:latin typeface="Arial" panose="020B0604020202020204" pitchFamily="34" charset="0"/>
                <a:cs typeface="Arial" panose="020B0604020202020204" pitchFamily="34" charset="0"/>
              </a:rPr>
              <a:t>Starter</a:t>
            </a:r>
          </a:p>
        </p:txBody>
      </p:sp>
      <p:sp>
        <p:nvSpPr>
          <p:cNvPr id="3" name="Subtitle 2"/>
          <p:cNvSpPr>
            <a:spLocks noGrp="1"/>
          </p:cNvSpPr>
          <p:nvPr>
            <p:ph type="subTitle" idx="1"/>
          </p:nvPr>
        </p:nvSpPr>
        <p:spPr>
          <a:xfrm>
            <a:off x="1169276" y="2571092"/>
            <a:ext cx="7922548" cy="3600000"/>
          </a:xfrm>
        </p:spPr>
        <p:txBody>
          <a:bodyPr/>
          <a:lstStyle/>
          <a:p>
            <a:pPr marL="457200" indent="-457200">
              <a:spcBef>
                <a:spcPct val="0"/>
              </a:spcBef>
              <a:buFont typeface="+mj-lt"/>
              <a:buAutoNum type="arabicPeriod"/>
            </a:pPr>
            <a:r>
              <a:rPr lang="en-GB" altLang="en-US" sz="2000" dirty="0">
                <a:latin typeface="Arial" panose="020B0604020202020204" pitchFamily="34" charset="0"/>
                <a:cs typeface="Arial" panose="020B0604020202020204" pitchFamily="34" charset="0"/>
              </a:rPr>
              <a:t>What can happen to the body if we don’t eat enough food?</a:t>
            </a:r>
          </a:p>
          <a:p>
            <a:pPr marL="457200" indent="-457200">
              <a:spcBef>
                <a:spcPct val="0"/>
              </a:spcBef>
              <a:buFont typeface="+mj-lt"/>
              <a:buAutoNum type="arabicPeriod"/>
            </a:pPr>
            <a:endParaRPr lang="en-GB" altLang="en-US" sz="2000" dirty="0">
              <a:latin typeface="Arial" panose="020B0604020202020204" pitchFamily="34" charset="0"/>
              <a:cs typeface="Arial" panose="020B0604020202020204" pitchFamily="34" charset="0"/>
            </a:endParaRPr>
          </a:p>
          <a:p>
            <a:pPr marL="457200" indent="-457200">
              <a:spcBef>
                <a:spcPct val="0"/>
              </a:spcBef>
              <a:buFont typeface="+mj-lt"/>
              <a:buAutoNum type="arabicPeriod"/>
            </a:pPr>
            <a:r>
              <a:rPr lang="en-GB" altLang="en-US" sz="2000" dirty="0">
                <a:latin typeface="Arial" panose="020B0604020202020204" pitchFamily="34" charset="0"/>
                <a:cs typeface="Arial" panose="020B0604020202020204" pitchFamily="34" charset="0"/>
              </a:rPr>
              <a:t>What can happen to the body if we eat too much food? </a:t>
            </a:r>
          </a:p>
          <a:p>
            <a:pPr marL="457200" indent="-457200">
              <a:spcBef>
                <a:spcPct val="0"/>
              </a:spcBef>
              <a:buFont typeface="+mj-lt"/>
              <a:buAutoNum type="arabicPeriod"/>
            </a:pPr>
            <a:endParaRPr lang="en-GB" altLang="en-US" dirty="0">
              <a:latin typeface="Arial" panose="020B0604020202020204" pitchFamily="34" charset="0"/>
              <a:cs typeface="Arial" panose="020B0604020202020204" pitchFamily="34" charset="0"/>
            </a:endParaRPr>
          </a:p>
          <a:p>
            <a:pPr marL="457200" indent="-457200">
              <a:spcBef>
                <a:spcPct val="0"/>
              </a:spcBef>
              <a:buFont typeface="+mj-lt"/>
              <a:buAutoNum type="arabicPeriod"/>
            </a:pPr>
            <a:r>
              <a:rPr lang="en-GB" altLang="en-US" sz="2000" dirty="0">
                <a:latin typeface="Arial" panose="020B0604020202020204" pitchFamily="34" charset="0"/>
                <a:cs typeface="Arial" panose="020B0604020202020204" pitchFamily="34" charset="0"/>
              </a:rPr>
              <a:t>Name four diseases associated with poor diet and lack of exercise.</a:t>
            </a:r>
          </a:p>
          <a:p>
            <a:pPr marL="0" indent="0">
              <a:spcBef>
                <a:spcPct val="0"/>
              </a:spcBef>
              <a:buNone/>
            </a:pPr>
            <a:endParaRPr lang="en-GB" altLang="en-US" sz="2000" dirty="0">
              <a:latin typeface="Arial" panose="020B0604020202020204" pitchFamily="34" charset="0"/>
              <a:cs typeface="Arial" panose="020B0604020202020204" pitchFamily="34" charset="0"/>
            </a:endParaRPr>
          </a:p>
          <a:p>
            <a:pPr marL="0" indent="0">
              <a:spcBef>
                <a:spcPct val="0"/>
              </a:spcBef>
              <a:buNone/>
            </a:pPr>
            <a:r>
              <a:rPr lang="en-GB" altLang="en-US" b="1" dirty="0">
                <a:latin typeface="Arial" panose="020B0604020202020204" pitchFamily="34" charset="0"/>
                <a:cs typeface="Arial" panose="020B0604020202020204" pitchFamily="34" charset="0"/>
              </a:rPr>
              <a:t>Extension:</a:t>
            </a:r>
          </a:p>
          <a:p>
            <a:pPr marL="0" indent="0">
              <a:spcBef>
                <a:spcPct val="0"/>
              </a:spcBef>
              <a:buNone/>
            </a:pPr>
            <a:endParaRPr lang="en-GB" altLang="en-US" dirty="0">
              <a:latin typeface="Arial" panose="020B0604020202020204" pitchFamily="34" charset="0"/>
              <a:cs typeface="Arial" panose="020B0604020202020204" pitchFamily="34" charset="0"/>
            </a:endParaRPr>
          </a:p>
          <a:p>
            <a:pPr marL="0" indent="0">
              <a:spcBef>
                <a:spcPct val="0"/>
              </a:spcBef>
              <a:buNone/>
            </a:pPr>
            <a:r>
              <a:rPr lang="en-GB" sz="2000" kern="0" dirty="0">
                <a:solidFill>
                  <a:prstClr val="black"/>
                </a:solidFill>
                <a:latin typeface="Arial" panose="020B0604020202020204" pitchFamily="34" charset="0"/>
                <a:cs typeface="Arial" panose="020B0604020202020204" pitchFamily="34" charset="0"/>
              </a:rPr>
              <a:t>Suggest how can diet and exercise affect your risk of developing disease?</a:t>
            </a:r>
          </a:p>
          <a:p>
            <a:pPr marL="0" indent="0">
              <a:spcBef>
                <a:spcPct val="0"/>
              </a:spcBef>
              <a:buNone/>
            </a:pPr>
            <a:endParaRPr lang="en-GB" altLang="en-US" sz="2000"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34756927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9F38A-2811-8A0A-0903-F90C6CA9F351}"/>
              </a:ext>
            </a:extLst>
          </p:cNvPr>
          <p:cNvSpPr>
            <a:spLocks noGrp="1"/>
          </p:cNvSpPr>
          <p:nvPr>
            <p:ph type="ctrTitle"/>
          </p:nvPr>
        </p:nvSpPr>
        <p:spPr/>
        <p:txBody>
          <a:bodyPr/>
          <a:lstStyle/>
          <a:p>
            <a:r>
              <a:rPr lang="en-US" dirty="0">
                <a:latin typeface="Arial"/>
                <a:cs typeface="Arial"/>
              </a:rPr>
              <a:t>Homework</a:t>
            </a:r>
            <a:endParaRPr lang="en-US" dirty="0"/>
          </a:p>
        </p:txBody>
      </p:sp>
      <p:sp>
        <p:nvSpPr>
          <p:cNvPr id="4" name="TextBox 3">
            <a:extLst>
              <a:ext uri="{FF2B5EF4-FFF2-40B4-BE49-F238E27FC236}">
                <a16:creationId xmlns:a16="http://schemas.microsoft.com/office/drawing/2014/main" id="{B3D9D166-8F1D-39CD-D4E0-A3292451464C}"/>
              </a:ext>
            </a:extLst>
          </p:cNvPr>
          <p:cNvSpPr txBox="1"/>
          <p:nvPr/>
        </p:nvSpPr>
        <p:spPr>
          <a:xfrm>
            <a:off x="1042735" y="2283798"/>
            <a:ext cx="9352547" cy="3416320"/>
          </a:xfrm>
          <a:prstGeom prst="rect">
            <a:avLst/>
          </a:prstGeom>
          <a:noFill/>
        </p:spPr>
        <p:txBody>
          <a:bodyPr wrap="square">
            <a:spAutoFit/>
          </a:bodyPr>
          <a:lstStyle/>
          <a:p>
            <a:r>
              <a:rPr lang="en-GB" sz="2400" dirty="0">
                <a:latin typeface="Arial" panose="020B0604020202020204" pitchFamily="34" charset="0"/>
                <a:cs typeface="Arial" panose="020B0604020202020204" pitchFamily="34" charset="0"/>
              </a:rPr>
              <a:t> What food group did you eat most of?</a:t>
            </a:r>
          </a:p>
          <a:p>
            <a:endParaRPr lang="en-GB" sz="2400" dirty="0">
              <a:latin typeface="Arial" panose="020B0604020202020204" pitchFamily="34" charset="0"/>
              <a:cs typeface="Arial" panose="020B0604020202020204" pitchFamily="34" charset="0"/>
            </a:endParaRPr>
          </a:p>
          <a:p>
            <a:r>
              <a:rPr lang="en-GB" sz="2400" dirty="0">
                <a:latin typeface="Arial" panose="020B0604020202020204" pitchFamily="34" charset="0"/>
                <a:cs typeface="Arial" panose="020B0604020202020204" pitchFamily="34" charset="0"/>
              </a:rPr>
              <a:t> What food group did you eat the least of?</a:t>
            </a:r>
          </a:p>
          <a:p>
            <a:endParaRPr lang="en-GB" sz="2400" dirty="0">
              <a:latin typeface="Arial" panose="020B0604020202020204" pitchFamily="34" charset="0"/>
              <a:cs typeface="Arial" panose="020B0604020202020204" pitchFamily="34" charset="0"/>
            </a:endParaRPr>
          </a:p>
          <a:p>
            <a:r>
              <a:rPr lang="en-GB" sz="2400" dirty="0">
                <a:latin typeface="Arial" panose="020B0604020202020204" pitchFamily="34" charset="0"/>
                <a:cs typeface="Arial" panose="020B0604020202020204" pitchFamily="34" charset="0"/>
              </a:rPr>
              <a:t> Do you need to eat more of a food group?</a:t>
            </a:r>
          </a:p>
          <a:p>
            <a:endParaRPr lang="en-GB" sz="2400" dirty="0">
              <a:latin typeface="Arial" panose="020B0604020202020204" pitchFamily="34" charset="0"/>
              <a:cs typeface="Arial" panose="020B0604020202020204" pitchFamily="34" charset="0"/>
            </a:endParaRPr>
          </a:p>
          <a:p>
            <a:r>
              <a:rPr lang="en-GB" sz="2400" dirty="0">
                <a:latin typeface="Arial" panose="020B0604020202020204" pitchFamily="34" charset="0"/>
                <a:cs typeface="Arial" panose="020B0604020202020204" pitchFamily="34" charset="0"/>
              </a:rPr>
              <a:t> Do you need to eat less of a food group?</a:t>
            </a:r>
          </a:p>
          <a:p>
            <a:endParaRPr lang="en-GB" sz="2400" dirty="0">
              <a:latin typeface="Arial" panose="020B0604020202020204" pitchFamily="34" charset="0"/>
              <a:cs typeface="Arial" panose="020B0604020202020204" pitchFamily="34" charset="0"/>
            </a:endParaRPr>
          </a:p>
          <a:p>
            <a:r>
              <a:rPr lang="en-GB" sz="2400" dirty="0">
                <a:latin typeface="Arial" panose="020B0604020202020204" pitchFamily="34" charset="0"/>
                <a:cs typeface="Arial" panose="020B0604020202020204" pitchFamily="34" charset="0"/>
              </a:rPr>
              <a:t> Overall, do you think that you have a balanced diet?</a:t>
            </a:r>
          </a:p>
        </p:txBody>
      </p:sp>
    </p:spTree>
    <p:extLst>
      <p:ext uri="{BB962C8B-B14F-4D97-AF65-F5344CB8AC3E}">
        <p14:creationId xmlns:p14="http://schemas.microsoft.com/office/powerpoint/2010/main" val="39146452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9F38A-2811-8A0A-0903-F90C6CA9F351}"/>
              </a:ext>
            </a:extLst>
          </p:cNvPr>
          <p:cNvSpPr>
            <a:spLocks noGrp="1"/>
          </p:cNvSpPr>
          <p:nvPr>
            <p:ph type="ctrTitle"/>
          </p:nvPr>
        </p:nvSpPr>
        <p:spPr/>
        <p:txBody>
          <a:bodyPr/>
          <a:lstStyle/>
          <a:p>
            <a:r>
              <a:rPr lang="en-US" dirty="0">
                <a:latin typeface="Arial"/>
                <a:cs typeface="Arial"/>
              </a:rPr>
              <a:t>Key words</a:t>
            </a:r>
            <a:endParaRPr lang="en-US" dirty="0"/>
          </a:p>
        </p:txBody>
      </p:sp>
      <p:graphicFrame>
        <p:nvGraphicFramePr>
          <p:cNvPr id="7" name="Table 6">
            <a:extLst>
              <a:ext uri="{FF2B5EF4-FFF2-40B4-BE49-F238E27FC236}">
                <a16:creationId xmlns:a16="http://schemas.microsoft.com/office/drawing/2014/main" id="{21663884-8A5D-DD9A-B4F0-E1EED248AA0D}"/>
              </a:ext>
            </a:extLst>
          </p:cNvPr>
          <p:cNvGraphicFramePr>
            <a:graphicFrameLocks noGrp="1"/>
          </p:cNvGraphicFramePr>
          <p:nvPr>
            <p:extLst>
              <p:ext uri="{D42A27DB-BD31-4B8C-83A1-F6EECF244321}">
                <p14:modId xmlns:p14="http://schemas.microsoft.com/office/powerpoint/2010/main" val="2930052966"/>
              </p:ext>
            </p:extLst>
          </p:nvPr>
        </p:nvGraphicFramePr>
        <p:xfrm>
          <a:off x="1169274" y="2283798"/>
          <a:ext cx="10232323" cy="3792855"/>
        </p:xfrm>
        <a:graphic>
          <a:graphicData uri="http://schemas.openxmlformats.org/drawingml/2006/table">
            <a:tbl>
              <a:tblPr firstRow="1" bandRow="1">
                <a:tableStyleId>{00A15C55-8517-42AA-B614-E9B94910E393}</a:tableStyleId>
              </a:tblPr>
              <a:tblGrid>
                <a:gridCol w="2580559">
                  <a:extLst>
                    <a:ext uri="{9D8B030D-6E8A-4147-A177-3AD203B41FA5}">
                      <a16:colId xmlns:a16="http://schemas.microsoft.com/office/drawing/2014/main" val="1331182780"/>
                    </a:ext>
                  </a:extLst>
                </a:gridCol>
                <a:gridCol w="7651764">
                  <a:extLst>
                    <a:ext uri="{9D8B030D-6E8A-4147-A177-3AD203B41FA5}">
                      <a16:colId xmlns:a16="http://schemas.microsoft.com/office/drawing/2014/main" val="493437255"/>
                    </a:ext>
                  </a:extLst>
                </a:gridCol>
              </a:tblGrid>
              <a:tr h="447675">
                <a:tc>
                  <a:txBody>
                    <a:bodyPr/>
                    <a:lstStyle/>
                    <a:p>
                      <a:pPr fontAlgn="base"/>
                      <a:r>
                        <a:rPr lang="en-US" sz="2000" b="1" dirty="0">
                          <a:solidFill>
                            <a:schemeClr val="bg1"/>
                          </a:solidFill>
                          <a:effectLst/>
                          <a:latin typeface="Arial"/>
                        </a:rPr>
                        <a:t>Key word​</a:t>
                      </a:r>
                    </a:p>
                  </a:txBody>
                  <a:tcPr/>
                </a:tc>
                <a:tc>
                  <a:txBody>
                    <a:bodyPr/>
                    <a:lstStyle/>
                    <a:p>
                      <a:pPr fontAlgn="base"/>
                      <a:r>
                        <a:rPr lang="en-US" sz="2000" dirty="0">
                          <a:solidFill>
                            <a:schemeClr val="bg1"/>
                          </a:solidFill>
                          <a:effectLst/>
                          <a:latin typeface="Arial"/>
                        </a:rPr>
                        <a:t>Meaning​</a:t>
                      </a:r>
                    </a:p>
                  </a:txBody>
                  <a:tcPr/>
                </a:tc>
                <a:extLst>
                  <a:ext uri="{0D108BD9-81ED-4DB2-BD59-A6C34878D82A}">
                    <a16:rowId xmlns:a16="http://schemas.microsoft.com/office/drawing/2014/main" val="888077538"/>
                  </a:ext>
                </a:extLst>
              </a:tr>
              <a:tr h="447675">
                <a:tc>
                  <a:txBody>
                    <a:bodyPr/>
                    <a:lstStyle/>
                    <a:p>
                      <a:pPr fontAlgn="base"/>
                      <a:r>
                        <a:rPr lang="en-GB" sz="2000" b="1" dirty="0">
                          <a:effectLst/>
                          <a:latin typeface="Arial"/>
                        </a:rPr>
                        <a:t>Kwashiorkor</a:t>
                      </a:r>
                    </a:p>
                  </a:txBody>
                  <a:tcPr/>
                </a:tc>
                <a:tc>
                  <a:txBody>
                    <a:bodyPr/>
                    <a:lstStyle/>
                    <a:p>
                      <a:pPr lvl="0" algn="l">
                        <a:lnSpc>
                          <a:spcPct val="100000"/>
                        </a:lnSpc>
                        <a:spcBef>
                          <a:spcPts val="0"/>
                        </a:spcBef>
                        <a:spcAft>
                          <a:spcPts val="0"/>
                        </a:spcAft>
                        <a:buNone/>
                      </a:pPr>
                      <a:r>
                        <a:rPr lang="en-GB" sz="1800" b="0" i="0" u="none" strike="noStrike" noProof="0" dirty="0">
                          <a:effectLst/>
                          <a:latin typeface="Arial" panose="020B0604020202020204" pitchFamily="34" charset="0"/>
                          <a:cs typeface="Arial" panose="020B0604020202020204" pitchFamily="34" charset="0"/>
                        </a:rPr>
                        <a:t>A severe type of protein-energy malnutrition.</a:t>
                      </a:r>
                      <a:endParaRPr lang="en-US" sz="1800" b="0" i="0" u="none" strike="noStrike" noProof="0" dirty="0">
                        <a:effectLst/>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161305642"/>
                  </a:ext>
                </a:extLst>
              </a:tr>
              <a:tr h="447675">
                <a:tc>
                  <a:txBody>
                    <a:bodyPr/>
                    <a:lstStyle/>
                    <a:p>
                      <a:pPr fontAlgn="base"/>
                      <a:r>
                        <a:rPr lang="en-GB" sz="2000" b="1" dirty="0">
                          <a:effectLst/>
                          <a:latin typeface="Arial"/>
                        </a:rPr>
                        <a:t>Malnutrition</a:t>
                      </a:r>
                    </a:p>
                  </a:txBody>
                  <a:tcPr/>
                </a:tc>
                <a:tc>
                  <a:txBody>
                    <a:bodyPr/>
                    <a:lstStyle/>
                    <a:p>
                      <a:pPr lvl="0">
                        <a:buNone/>
                      </a:pPr>
                      <a:r>
                        <a:rPr lang="en-GB" dirty="0">
                          <a:latin typeface="Arial"/>
                        </a:rPr>
                        <a:t>A condition that occurs when the diet does not contain the right amount of nutrients, either not enough or more than is needed.</a:t>
                      </a:r>
                      <a:endParaRPr lang="en-US" dirty="0">
                        <a:latin typeface="Arial"/>
                      </a:endParaRPr>
                    </a:p>
                  </a:txBody>
                  <a:tcPr/>
                </a:tc>
                <a:extLst>
                  <a:ext uri="{0D108BD9-81ED-4DB2-BD59-A6C34878D82A}">
                    <a16:rowId xmlns:a16="http://schemas.microsoft.com/office/drawing/2014/main" val="258567779"/>
                  </a:ext>
                </a:extLst>
              </a:tr>
              <a:tr h="447675">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GB" sz="2000" b="1" dirty="0">
                          <a:effectLst/>
                          <a:latin typeface="Arial"/>
                        </a:rPr>
                        <a:t>Marasmus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0" dirty="0">
                          <a:effectLst/>
                          <a:latin typeface="Arial"/>
                        </a:rPr>
                        <a:t>A severe type of protein-energy malnutrition.</a:t>
                      </a:r>
                      <a:endParaRPr lang="en-US" sz="1800" b="0" dirty="0">
                        <a:effectLst/>
                        <a:latin typeface="Arial"/>
                      </a:endParaRPr>
                    </a:p>
                  </a:txBody>
                  <a:tcPr/>
                </a:tc>
                <a:extLst>
                  <a:ext uri="{0D108BD9-81ED-4DB2-BD59-A6C34878D82A}">
                    <a16:rowId xmlns:a16="http://schemas.microsoft.com/office/drawing/2014/main" val="2705072277"/>
                  </a:ext>
                </a:extLst>
              </a:tr>
              <a:tr h="447675">
                <a:tc>
                  <a:txBody>
                    <a:bodyPr/>
                    <a:lstStyle/>
                    <a:p>
                      <a:pPr fontAlgn="base"/>
                      <a:r>
                        <a:rPr lang="en-US" sz="2000" b="1" dirty="0">
                          <a:effectLst/>
                          <a:latin typeface="Arial"/>
                        </a:rPr>
                        <a:t>Obesity</a:t>
                      </a:r>
                    </a:p>
                  </a:txBody>
                  <a:tcPr/>
                </a:tc>
                <a:tc>
                  <a:txBody>
                    <a:bodyPr/>
                    <a:lstStyle/>
                    <a:p>
                      <a:pPr lvl="0">
                        <a:buNone/>
                      </a:pPr>
                      <a:r>
                        <a:rPr lang="en-GB" dirty="0">
                          <a:latin typeface="Arial"/>
                        </a:rPr>
                        <a:t>A high, unhealthy amount of body fat. Usually defined as a body mass index (BMI) of 30 or higher. Having obesity can lead to many health problems.</a:t>
                      </a:r>
                      <a:endParaRPr lang="en-US" dirty="0">
                        <a:latin typeface="Arial"/>
                      </a:endParaRPr>
                    </a:p>
                  </a:txBody>
                  <a:tcPr/>
                </a:tc>
                <a:extLst>
                  <a:ext uri="{0D108BD9-81ED-4DB2-BD59-A6C34878D82A}">
                    <a16:rowId xmlns:a16="http://schemas.microsoft.com/office/drawing/2014/main" val="922981936"/>
                  </a:ext>
                </a:extLst>
              </a:tr>
              <a:tr h="447675">
                <a:tc>
                  <a:txBody>
                    <a:bodyPr/>
                    <a:lstStyle/>
                    <a:p>
                      <a:pPr fontAlgn="base"/>
                      <a:r>
                        <a:rPr lang="en-GB" sz="2000" b="1" dirty="0">
                          <a:effectLst/>
                          <a:latin typeface="Arial"/>
                        </a:rPr>
                        <a:t>Overnutrition</a:t>
                      </a:r>
                    </a:p>
                  </a:txBody>
                  <a:tcPr/>
                </a:tc>
                <a:tc>
                  <a:txBody>
                    <a:bodyPr/>
                    <a:lstStyle/>
                    <a:p>
                      <a:pPr marL="0" marR="0" lvl="0" indent="0" algn="l">
                        <a:lnSpc>
                          <a:spcPct val="100000"/>
                        </a:lnSpc>
                        <a:spcBef>
                          <a:spcPts val="0"/>
                        </a:spcBef>
                        <a:spcAft>
                          <a:spcPts val="0"/>
                        </a:spcAft>
                        <a:buNone/>
                      </a:pPr>
                      <a:r>
                        <a:rPr lang="en-GB" sz="1800" b="0" i="0" u="none" strike="noStrike" noProof="0" dirty="0">
                          <a:effectLst/>
                          <a:latin typeface="Arial"/>
                        </a:rPr>
                        <a:t>When the energy or nutrients in the food you eat is more than required.</a:t>
                      </a:r>
                    </a:p>
                  </a:txBody>
                  <a:tcPr/>
                </a:tc>
                <a:extLst>
                  <a:ext uri="{0D108BD9-81ED-4DB2-BD59-A6C34878D82A}">
                    <a16:rowId xmlns:a16="http://schemas.microsoft.com/office/drawing/2014/main" val="3134071540"/>
                  </a:ext>
                </a:extLst>
              </a:tr>
              <a:tr h="447675">
                <a:tc>
                  <a:txBody>
                    <a:bodyPr/>
                    <a:lstStyle/>
                    <a:p>
                      <a:pPr fontAlgn="base"/>
                      <a:r>
                        <a:rPr lang="en-GB" sz="2000" b="1" dirty="0">
                          <a:effectLst/>
                          <a:latin typeface="Arial"/>
                        </a:rPr>
                        <a:t>Undernutrition</a:t>
                      </a:r>
                    </a:p>
                  </a:txBody>
                  <a:tcPr/>
                </a:tc>
                <a:tc>
                  <a:txBody>
                    <a:bodyPr/>
                    <a:lstStyle/>
                    <a:p>
                      <a:pPr marL="0" marR="0" lvl="0" indent="0" algn="l">
                        <a:lnSpc>
                          <a:spcPct val="100000"/>
                        </a:lnSpc>
                        <a:spcBef>
                          <a:spcPts val="0"/>
                        </a:spcBef>
                        <a:spcAft>
                          <a:spcPts val="0"/>
                        </a:spcAft>
                        <a:buNone/>
                      </a:pPr>
                      <a:r>
                        <a:rPr lang="en-GB" sz="1800" b="0" i="0" u="none" strike="noStrike" noProof="0" dirty="0">
                          <a:effectLst/>
                          <a:latin typeface="Arial"/>
                        </a:rPr>
                        <a:t>When the energy or nutrients in the food you eat is less than required.</a:t>
                      </a:r>
                    </a:p>
                  </a:txBody>
                  <a:tcPr/>
                </a:tc>
                <a:extLst>
                  <a:ext uri="{0D108BD9-81ED-4DB2-BD59-A6C34878D82A}">
                    <a16:rowId xmlns:a16="http://schemas.microsoft.com/office/drawing/2014/main" val="4095839508"/>
                  </a:ext>
                </a:extLst>
              </a:tr>
            </a:tbl>
          </a:graphicData>
        </a:graphic>
      </p:graphicFrame>
    </p:spTree>
    <p:extLst>
      <p:ext uri="{BB962C8B-B14F-4D97-AF65-F5344CB8AC3E}">
        <p14:creationId xmlns:p14="http://schemas.microsoft.com/office/powerpoint/2010/main" val="24500368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734D3D-C20B-4ED7-8C51-1867D1A26058}"/>
              </a:ext>
            </a:extLst>
          </p:cNvPr>
          <p:cNvSpPr>
            <a:spLocks noGrp="1"/>
          </p:cNvSpPr>
          <p:nvPr>
            <p:ph type="ctrTitle"/>
          </p:nvPr>
        </p:nvSpPr>
        <p:spPr/>
        <p:txBody>
          <a:bodyPr/>
          <a:lstStyle/>
          <a:p>
            <a:r>
              <a:rPr lang="en-US"/>
              <a:t>Teachers’ guide</a:t>
            </a:r>
            <a:endParaRPr lang="en-GB"/>
          </a:p>
        </p:txBody>
      </p:sp>
    </p:spTree>
    <p:extLst>
      <p:ext uri="{BB962C8B-B14F-4D97-AF65-F5344CB8AC3E}">
        <p14:creationId xmlns:p14="http://schemas.microsoft.com/office/powerpoint/2010/main" val="11996642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extLst>
              <p:ext uri="{D42A27DB-BD31-4B8C-83A1-F6EECF244321}">
                <p14:modId xmlns:p14="http://schemas.microsoft.com/office/powerpoint/2010/main" val="3239486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Teaching about unhealthy diets:</a:t>
            </a:r>
            <a:endParaRPr lang="en-GB" dirty="0">
              <a:latin typeface="Arial"/>
              <a:cs typeface="Arial"/>
            </a:endParaRPr>
          </a:p>
        </p:txBody>
      </p:sp>
      <p:sp>
        <p:nvSpPr>
          <p:cNvPr id="3" name="Subtitle 2"/>
          <p:cNvSpPr>
            <a:spLocks noGrp="1"/>
          </p:cNvSpPr>
          <p:nvPr>
            <p:ph type="subTitle" idx="1"/>
          </p:nvPr>
        </p:nvSpPr>
        <p:spPr>
          <a:xfrm>
            <a:off x="1169276" y="2571092"/>
            <a:ext cx="9389671" cy="3600000"/>
          </a:xfrm>
        </p:spPr>
        <p:txBody>
          <a:bodyPr/>
          <a:lstStyle/>
          <a:p>
            <a:r>
              <a:rPr lang="en-GB" dirty="0">
                <a:latin typeface="Arial" panose="020B0604020202020204" pitchFamily="34" charset="0"/>
                <a:ea typeface="Calibri" panose="020F0502020204030204" pitchFamily="34" charset="0"/>
                <a:cs typeface="Arial" panose="020B0604020202020204" pitchFamily="34" charset="0"/>
              </a:rPr>
              <a:t>Compare healthier and unhealthier food habits.</a:t>
            </a:r>
          </a:p>
          <a:p>
            <a:r>
              <a:rPr lang="en-GB" dirty="0">
                <a:latin typeface="Arial" panose="020B0604020202020204" pitchFamily="34" charset="0"/>
                <a:ea typeface="Calibri" panose="020F0502020204030204" pitchFamily="34" charset="0"/>
                <a:cs typeface="Arial" panose="020B0604020202020204" pitchFamily="34" charset="0"/>
              </a:rPr>
              <a:t>Understand that too little or too much food can cause disease.</a:t>
            </a:r>
          </a:p>
          <a:p>
            <a:r>
              <a:rPr lang="en-GB" dirty="0">
                <a:latin typeface="Arial" panose="020B0604020202020204" pitchFamily="34" charset="0"/>
                <a:ea typeface="Calibri" panose="020F0502020204030204" pitchFamily="34" charset="0"/>
                <a:cs typeface="Arial" panose="020B0604020202020204" pitchFamily="34" charset="0"/>
              </a:rPr>
              <a:t>Describe the components of a healthy diet.</a:t>
            </a:r>
          </a:p>
          <a:p>
            <a:r>
              <a:rPr lang="en-GB" dirty="0">
                <a:latin typeface="Arial" panose="020B0604020202020204" pitchFamily="34" charset="0"/>
                <a:ea typeface="Calibri" panose="020F0502020204030204" pitchFamily="34" charset="0"/>
                <a:cs typeface="Arial" panose="020B0604020202020204" pitchFamily="34" charset="0"/>
              </a:rPr>
              <a:t>Explain health issues that can occur when not eating a healthy diet.</a:t>
            </a:r>
          </a:p>
          <a:p>
            <a:r>
              <a:rPr lang="en-GB" dirty="0">
                <a:latin typeface="Arial" panose="020B0604020202020204" pitchFamily="34" charset="0"/>
                <a:ea typeface="Calibri" panose="020F0502020204030204" pitchFamily="34" charset="0"/>
                <a:cs typeface="Arial" panose="020B0604020202020204" pitchFamily="34" charset="0"/>
              </a:rPr>
              <a:t>Calculate the BMI of different people.</a:t>
            </a:r>
          </a:p>
          <a:p>
            <a:endParaRPr lang="en-GB" dirty="0">
              <a:latin typeface="Arial" panose="020B0604020202020204" pitchFamily="34" charset="0"/>
              <a:ea typeface="Calibri" panose="020F0502020204030204" pitchFamily="34" charset="0"/>
              <a:cs typeface="Arial" panose="020B0604020202020204" pitchFamily="34" charset="0"/>
            </a:endParaRPr>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39939732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Unhealthy diets lesson</a:t>
            </a:r>
            <a:endParaRPr lang="en-GB" dirty="0">
              <a:latin typeface="Arial"/>
              <a:cs typeface="Arial"/>
            </a:endParaRPr>
          </a:p>
        </p:txBody>
      </p:sp>
      <p:sp>
        <p:nvSpPr>
          <p:cNvPr id="3" name="Subtitle 2"/>
          <p:cNvSpPr>
            <a:spLocks noGrp="1"/>
          </p:cNvSpPr>
          <p:nvPr>
            <p:ph type="subTitle" idx="1"/>
          </p:nvPr>
        </p:nvSpPr>
        <p:spPr>
          <a:xfrm>
            <a:off x="1169274" y="2488899"/>
            <a:ext cx="9389671" cy="3600000"/>
          </a:xfrm>
        </p:spPr>
        <p:txBody>
          <a:bodyPr/>
          <a:lstStyle/>
          <a:p>
            <a:pPr marL="0" lvl="0" indent="0">
              <a:buNone/>
            </a:pPr>
            <a:r>
              <a:rPr lang="en-GB" dirty="0"/>
              <a:t>Common misconceptions:</a:t>
            </a:r>
          </a:p>
          <a:p>
            <a:r>
              <a:rPr lang="en-GB" b="1" dirty="0"/>
              <a:t>Energy balance </a:t>
            </a:r>
            <a:r>
              <a:rPr lang="en-GB" dirty="0"/>
              <a:t>- energy is balanced when it is the same between exercise and food intake (ignoring Basal Metabolic Rate (BMR)). Ensure that it is clear the amount of energy expended does not need to equal the amount that is taken in through food intake.</a:t>
            </a:r>
          </a:p>
          <a:p>
            <a:r>
              <a:rPr lang="en-GB" b="1" dirty="0"/>
              <a:t>Energy stores </a:t>
            </a:r>
            <a:r>
              <a:rPr lang="en-GB" dirty="0"/>
              <a:t>– one of the changes in the way energy is taught in Physics is moving towards talking about ‘energy stores’. Make sure to use this terminology when teaching all topics on energy.</a:t>
            </a:r>
          </a:p>
          <a:p>
            <a:pPr lvl="0"/>
            <a:r>
              <a:rPr lang="en-US" b="1" dirty="0">
                <a:latin typeface="Arial" panose="020B0604020202020204" pitchFamily="34" charset="0"/>
                <a:cs typeface="Arial" panose="020B0604020202020204" pitchFamily="34" charset="0"/>
              </a:rPr>
              <a:t>There are ‘bad’ foods </a:t>
            </a:r>
            <a:r>
              <a:rPr lang="en-US" dirty="0">
                <a:latin typeface="Arial" panose="020B0604020202020204" pitchFamily="34" charset="0"/>
                <a:cs typeface="Arial" panose="020B0604020202020204" pitchFamily="34" charset="0"/>
              </a:rPr>
              <a:t>– we should be teaching about unhealthy dietary patterns rather than ‘unhealthy’ or ‘bad’ foods or nutrients. Talking about undernutrition as well as overnutrition should support this (you can have too much or too little of a nutrient).</a:t>
            </a: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12481804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Progressing the learning</a:t>
            </a:r>
            <a:endParaRPr lang="en-GB" dirty="0">
              <a:latin typeface="Arial"/>
              <a:cs typeface="Arial"/>
            </a:endParaRPr>
          </a:p>
        </p:txBody>
      </p:sp>
      <p:sp>
        <p:nvSpPr>
          <p:cNvPr id="3" name="Subtitle 2"/>
          <p:cNvSpPr>
            <a:spLocks noGrp="1"/>
          </p:cNvSpPr>
          <p:nvPr>
            <p:ph type="subTitle" idx="1"/>
          </p:nvPr>
        </p:nvSpPr>
        <p:spPr>
          <a:xfrm>
            <a:off x="1169276" y="2571092"/>
            <a:ext cx="9389671" cy="3600000"/>
          </a:xfrm>
        </p:spPr>
        <p:txBody>
          <a:bodyPr/>
          <a:lstStyle/>
          <a:p>
            <a:pPr marL="0" lvl="0" indent="0">
              <a:buNone/>
            </a:pPr>
            <a:r>
              <a:rPr lang="en-GB" dirty="0"/>
              <a:t>The topic of unhealthy diets is also covered at GCSE (14-16 years). </a:t>
            </a:r>
          </a:p>
          <a:p>
            <a:pPr marL="0" lvl="0" indent="0">
              <a:buNone/>
            </a:pPr>
            <a:endParaRPr lang="en-GB" dirty="0"/>
          </a:p>
          <a:p>
            <a:pPr marL="0" indent="0">
              <a:buNone/>
            </a:pPr>
            <a:r>
              <a:rPr lang="en-GB" dirty="0"/>
              <a:t>The healthy diet is also covered when looking at topics such as heart disease and type 2 diabetes at GCSE.</a:t>
            </a:r>
          </a:p>
          <a:p>
            <a:pPr marL="0" lvl="0" indent="0">
              <a:buNone/>
            </a:pPr>
            <a:endParaRPr lang="en-GB" dirty="0">
              <a:highlight>
                <a:srgbClr val="FFFF00"/>
              </a:highlight>
            </a:endParaRPr>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366926355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2ACFA0-76C8-1EA8-54EC-42708D9B9177}"/>
              </a:ext>
            </a:extLst>
          </p:cNvPr>
          <p:cNvSpPr>
            <a:spLocks noGrp="1"/>
          </p:cNvSpPr>
          <p:nvPr>
            <p:ph type="ctrTitle"/>
          </p:nvPr>
        </p:nvSpPr>
        <p:spPr/>
        <p:txBody>
          <a:bodyPr/>
          <a:lstStyle/>
          <a:p>
            <a:r>
              <a:rPr lang="en-US" dirty="0">
                <a:latin typeface="Arial"/>
                <a:cs typeface="Arial"/>
              </a:rPr>
              <a:t>Talking about unhealthy diets</a:t>
            </a:r>
            <a:endParaRPr lang="en-US" dirty="0"/>
          </a:p>
        </p:txBody>
      </p:sp>
      <p:sp>
        <p:nvSpPr>
          <p:cNvPr id="3" name="Subtitle 2">
            <a:extLst>
              <a:ext uri="{FF2B5EF4-FFF2-40B4-BE49-F238E27FC236}">
                <a16:creationId xmlns:a16="http://schemas.microsoft.com/office/drawing/2014/main" id="{78101E67-B0F1-726C-7F13-95384EA7B94E}"/>
              </a:ext>
            </a:extLst>
          </p:cNvPr>
          <p:cNvSpPr>
            <a:spLocks noGrp="1"/>
          </p:cNvSpPr>
          <p:nvPr>
            <p:ph type="subTitle" idx="1"/>
          </p:nvPr>
        </p:nvSpPr>
        <p:spPr>
          <a:xfrm>
            <a:off x="1169276" y="2571092"/>
            <a:ext cx="3984615" cy="3600000"/>
          </a:xfrm>
        </p:spPr>
        <p:txBody>
          <a:bodyPr/>
          <a:lstStyle/>
          <a:p>
            <a:pPr marL="0" indent="0">
              <a:buNone/>
            </a:pPr>
            <a:r>
              <a:rPr lang="en-GB" dirty="0">
                <a:latin typeface="Arial"/>
                <a:cs typeface="Arial"/>
              </a:rPr>
              <a:t>Make sure to focus on the idea of healthier dietary patterns and avoid sorting foods into ‘good’ or ‘bad’.</a:t>
            </a:r>
            <a:endParaRPr lang="en-GB" altLang="en-US" dirty="0">
              <a:latin typeface="Arial" panose="020B0604020202020204" pitchFamily="34" charset="0"/>
              <a:cs typeface="Arial" panose="020B0604020202020204" pitchFamily="34" charset="0"/>
            </a:endParaRPr>
          </a:p>
          <a:p>
            <a:pPr marL="342900" indent="-342900"/>
            <a:endParaRPr lang="en-US" dirty="0"/>
          </a:p>
          <a:p>
            <a:pPr marL="342900" indent="-342900"/>
            <a:endParaRPr lang="en-US" dirty="0"/>
          </a:p>
          <a:p>
            <a:pPr marL="0" indent="0">
              <a:buNone/>
            </a:pPr>
            <a:endParaRPr lang="en-US" dirty="0"/>
          </a:p>
          <a:p>
            <a:pPr marL="0" indent="0">
              <a:buNone/>
            </a:pPr>
            <a:endParaRPr lang="en-US" dirty="0"/>
          </a:p>
        </p:txBody>
      </p:sp>
      <p:pic>
        <p:nvPicPr>
          <p:cNvPr id="5" name="Picture 4" descr="Diagram&#10;&#10;Description automatically generated">
            <a:extLst>
              <a:ext uri="{FF2B5EF4-FFF2-40B4-BE49-F238E27FC236}">
                <a16:creationId xmlns:a16="http://schemas.microsoft.com/office/drawing/2014/main" id="{AEEBD77E-5BAD-C774-5D1A-CE9D5916B051}"/>
              </a:ext>
            </a:extLst>
          </p:cNvPr>
          <p:cNvPicPr>
            <a:picLocks noChangeAspect="1"/>
          </p:cNvPicPr>
          <p:nvPr/>
        </p:nvPicPr>
        <p:blipFill>
          <a:blip r:embed="rId2"/>
          <a:stretch>
            <a:fillRect/>
          </a:stretch>
        </p:blipFill>
        <p:spPr>
          <a:xfrm>
            <a:off x="6096000" y="2283798"/>
            <a:ext cx="5625781" cy="4031673"/>
          </a:xfrm>
          <a:prstGeom prst="rect">
            <a:avLst/>
          </a:prstGeom>
        </p:spPr>
      </p:pic>
    </p:spTree>
    <p:extLst>
      <p:ext uri="{BB962C8B-B14F-4D97-AF65-F5344CB8AC3E}">
        <p14:creationId xmlns:p14="http://schemas.microsoft.com/office/powerpoint/2010/main" val="30660678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Extra information for teachers</a:t>
            </a:r>
            <a:endParaRPr lang="en-GB" dirty="0">
              <a:latin typeface="Arial"/>
              <a:cs typeface="Arial"/>
            </a:endParaRPr>
          </a:p>
        </p:txBody>
      </p:sp>
      <p:sp>
        <p:nvSpPr>
          <p:cNvPr id="3" name="Subtitle 2"/>
          <p:cNvSpPr>
            <a:spLocks noGrp="1"/>
          </p:cNvSpPr>
          <p:nvPr>
            <p:ph type="subTitle" idx="1"/>
          </p:nvPr>
        </p:nvSpPr>
        <p:spPr>
          <a:xfrm>
            <a:off x="1169276" y="2571092"/>
            <a:ext cx="9389671" cy="3600000"/>
          </a:xfrm>
        </p:spPr>
        <p:txBody>
          <a:bodyPr/>
          <a:lstStyle/>
          <a:p>
            <a:pPr marL="0" lvl="0" indent="0">
              <a:buNone/>
            </a:pPr>
            <a:r>
              <a:rPr lang="en-GB" dirty="0"/>
              <a:t>The following slides contain extra information for teachers to support the teaching and learning around this topic area.</a:t>
            </a:r>
          </a:p>
          <a:p>
            <a:pPr marL="0" lvl="0" indent="0">
              <a:buNone/>
            </a:pPr>
            <a:endParaRPr lang="en-GB" dirty="0"/>
          </a:p>
          <a:p>
            <a:pPr marL="0" lvl="0" indent="0">
              <a:buNone/>
            </a:pPr>
            <a:r>
              <a:rPr lang="en-GB" dirty="0"/>
              <a:t>This may be useful as background reading, or you may wish to extend the learning for students by using this information in the lesson.</a:t>
            </a:r>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1498189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Malnutrition</a:t>
            </a:r>
          </a:p>
        </p:txBody>
      </p:sp>
      <p:sp>
        <p:nvSpPr>
          <p:cNvPr id="3" name="Subtitle 2"/>
          <p:cNvSpPr>
            <a:spLocks noGrp="1"/>
          </p:cNvSpPr>
          <p:nvPr>
            <p:ph type="subTitle" idx="1"/>
          </p:nvPr>
        </p:nvSpPr>
        <p:spPr>
          <a:xfrm>
            <a:off x="1169276" y="2571092"/>
            <a:ext cx="9346324" cy="3600000"/>
          </a:xfrm>
        </p:spPr>
        <p:txBody>
          <a:bodyPr/>
          <a:lstStyle/>
          <a:p>
            <a:pPr marL="0" indent="0">
              <a:buNone/>
            </a:pPr>
            <a:r>
              <a:rPr lang="en-GB" sz="2000" dirty="0"/>
              <a:t>Having intakes of energy and/or nutrients below or in excess of needs for long periods of time can affect health. This is called malnutrition.</a:t>
            </a:r>
          </a:p>
          <a:p>
            <a:pPr marL="0" indent="0">
              <a:buNone/>
            </a:pPr>
            <a:r>
              <a:rPr lang="en-GB" sz="2000" dirty="0"/>
              <a:t>	</a:t>
            </a:r>
          </a:p>
          <a:p>
            <a:pPr marL="0" indent="0">
              <a:buNone/>
            </a:pPr>
            <a:r>
              <a:rPr lang="en-GB" sz="2000" dirty="0"/>
              <a:t>Severe under nutrition (having an intake of energy and/or nutrients below what is needed) is rare in the United Kingdom, but can be common in some developing countries. However, under nutrition does occur in the UK, e.g. micronutrient deficiencies. </a:t>
            </a:r>
          </a:p>
          <a:p>
            <a:pPr marL="0" indent="0">
              <a:buNone/>
            </a:pPr>
            <a:r>
              <a:rPr lang="en-GB" sz="2000" dirty="0"/>
              <a:t>	</a:t>
            </a:r>
          </a:p>
          <a:p>
            <a:pPr marL="0" indent="0">
              <a:buNone/>
            </a:pPr>
            <a:r>
              <a:rPr lang="en-GB" sz="2000" dirty="0"/>
              <a:t>Children suffer the effects of starvation (not enough food) more quickly than adults. </a:t>
            </a:r>
          </a:p>
          <a:p>
            <a:pPr marL="0" indent="0">
              <a:buNone/>
            </a:pPr>
            <a:endParaRPr lang="en-GB" sz="2000" dirty="0"/>
          </a:p>
        </p:txBody>
      </p:sp>
    </p:spTree>
    <p:extLst>
      <p:ext uri="{BB962C8B-B14F-4D97-AF65-F5344CB8AC3E}">
        <p14:creationId xmlns:p14="http://schemas.microsoft.com/office/powerpoint/2010/main" val="1422162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en-US" dirty="0">
                <a:latin typeface="Arial" panose="020B0604020202020204" pitchFamily="34" charset="0"/>
                <a:cs typeface="Arial" panose="020B0604020202020204" pitchFamily="34" charset="0"/>
              </a:rPr>
              <a:t>Malnutrition</a:t>
            </a:r>
          </a:p>
        </p:txBody>
      </p:sp>
      <p:sp>
        <p:nvSpPr>
          <p:cNvPr id="3" name="Subtitle 2"/>
          <p:cNvSpPr>
            <a:spLocks noGrp="1"/>
          </p:cNvSpPr>
          <p:nvPr>
            <p:ph type="subTitle" idx="1"/>
          </p:nvPr>
        </p:nvSpPr>
        <p:spPr>
          <a:xfrm>
            <a:off x="1169276" y="2571092"/>
            <a:ext cx="7922548" cy="3600000"/>
          </a:xfrm>
        </p:spPr>
        <p:txBody>
          <a:bodyPr/>
          <a:lstStyle/>
          <a:p>
            <a:pPr marL="0" indent="0">
              <a:spcBef>
                <a:spcPct val="0"/>
              </a:spcBef>
              <a:buNone/>
            </a:pPr>
            <a:r>
              <a:rPr lang="en-GB" altLang="en-US" sz="2000" dirty="0">
                <a:latin typeface="Arial" panose="020B0604020202020204" pitchFamily="34" charset="0"/>
                <a:cs typeface="Arial" panose="020B0604020202020204" pitchFamily="34" charset="0"/>
              </a:rPr>
              <a:t>The risk of malnutrition is increased by:</a:t>
            </a:r>
          </a:p>
          <a:p>
            <a:pPr marL="0" indent="0">
              <a:spcBef>
                <a:spcPct val="0"/>
              </a:spcBef>
              <a:buNone/>
            </a:pPr>
            <a:endParaRPr lang="en-GB" altLang="en-US" sz="2000" dirty="0">
              <a:latin typeface="Arial" panose="020B0604020202020204" pitchFamily="34" charset="0"/>
              <a:cs typeface="Arial" panose="020B0604020202020204" pitchFamily="34" charset="0"/>
            </a:endParaRPr>
          </a:p>
          <a:p>
            <a:pPr>
              <a:spcBef>
                <a:spcPct val="0"/>
              </a:spcBef>
            </a:pPr>
            <a:r>
              <a:rPr lang="en-GB" altLang="en-US" dirty="0">
                <a:latin typeface="Arial" panose="020B0604020202020204" pitchFamily="34" charset="0"/>
                <a:cs typeface="Arial" panose="020B0604020202020204" pitchFamily="34" charset="0"/>
              </a:rPr>
              <a:t>i</a:t>
            </a:r>
            <a:r>
              <a:rPr lang="en-GB" altLang="en-US" sz="2000" dirty="0">
                <a:latin typeface="Arial" panose="020B0604020202020204" pitchFamily="34" charset="0"/>
                <a:cs typeface="Arial" panose="020B0604020202020204" pitchFamily="34" charset="0"/>
              </a:rPr>
              <a:t>ncreased requirements for some nutrients;</a:t>
            </a:r>
          </a:p>
          <a:p>
            <a:pPr>
              <a:spcBef>
                <a:spcPct val="0"/>
              </a:spcBef>
            </a:pPr>
            <a:endParaRPr lang="en-GB" altLang="en-US" sz="2000" dirty="0">
              <a:latin typeface="Arial" panose="020B0604020202020204" pitchFamily="34" charset="0"/>
              <a:cs typeface="Arial" panose="020B0604020202020204" pitchFamily="34" charset="0"/>
            </a:endParaRPr>
          </a:p>
          <a:p>
            <a:pPr>
              <a:spcBef>
                <a:spcPct val="0"/>
              </a:spcBef>
            </a:pPr>
            <a:r>
              <a:rPr lang="en-GB" altLang="en-US" dirty="0">
                <a:latin typeface="Arial" panose="020B0604020202020204" pitchFamily="34" charset="0"/>
                <a:cs typeface="Arial" panose="020B0604020202020204" pitchFamily="34" charset="0"/>
              </a:rPr>
              <a:t>r</a:t>
            </a:r>
            <a:r>
              <a:rPr lang="en-GB" altLang="en-US" sz="2000" dirty="0">
                <a:latin typeface="Arial" panose="020B0604020202020204" pitchFamily="34" charset="0"/>
                <a:cs typeface="Arial" panose="020B0604020202020204" pitchFamily="34" charset="0"/>
              </a:rPr>
              <a:t>estricted range of foods;</a:t>
            </a:r>
          </a:p>
          <a:p>
            <a:pPr>
              <a:spcBef>
                <a:spcPct val="0"/>
              </a:spcBef>
            </a:pPr>
            <a:endParaRPr lang="en-GB" altLang="en-US" sz="2000" dirty="0">
              <a:latin typeface="Arial" panose="020B0604020202020204" pitchFamily="34" charset="0"/>
              <a:cs typeface="Arial" panose="020B0604020202020204" pitchFamily="34" charset="0"/>
            </a:endParaRPr>
          </a:p>
          <a:p>
            <a:pPr>
              <a:spcBef>
                <a:spcPct val="0"/>
              </a:spcBef>
            </a:pPr>
            <a:r>
              <a:rPr lang="en-GB" altLang="en-US" dirty="0">
                <a:latin typeface="Arial" panose="020B0604020202020204" pitchFamily="34" charset="0"/>
                <a:cs typeface="Arial" panose="020B0604020202020204" pitchFamily="34" charset="0"/>
              </a:rPr>
              <a:t>r</a:t>
            </a:r>
            <a:r>
              <a:rPr lang="en-GB" altLang="en-US" sz="2000" dirty="0">
                <a:latin typeface="Arial" panose="020B0604020202020204" pitchFamily="34" charset="0"/>
                <a:cs typeface="Arial" panose="020B0604020202020204" pitchFamily="34" charset="0"/>
              </a:rPr>
              <a:t>eduction in available income;</a:t>
            </a:r>
          </a:p>
          <a:p>
            <a:pPr>
              <a:spcBef>
                <a:spcPct val="0"/>
              </a:spcBef>
            </a:pPr>
            <a:endParaRPr lang="en-GB" altLang="en-US" sz="2000" dirty="0">
              <a:latin typeface="Arial" panose="020B0604020202020204" pitchFamily="34" charset="0"/>
              <a:cs typeface="Arial" panose="020B0604020202020204" pitchFamily="34" charset="0"/>
            </a:endParaRPr>
          </a:p>
          <a:p>
            <a:pPr>
              <a:spcBef>
                <a:spcPct val="0"/>
              </a:spcBef>
            </a:pPr>
            <a:r>
              <a:rPr lang="en-GB" altLang="en-US" dirty="0">
                <a:latin typeface="Arial" panose="020B0604020202020204" pitchFamily="34" charset="0"/>
                <a:cs typeface="Arial" panose="020B0604020202020204" pitchFamily="34" charset="0"/>
              </a:rPr>
              <a:t>v</a:t>
            </a:r>
            <a:r>
              <a:rPr lang="en-GB" altLang="en-US" sz="2000" dirty="0">
                <a:latin typeface="Arial" panose="020B0604020202020204" pitchFamily="34" charset="0"/>
                <a:cs typeface="Arial" panose="020B0604020202020204" pitchFamily="34" charset="0"/>
              </a:rPr>
              <a:t>ery low income;</a:t>
            </a:r>
          </a:p>
          <a:p>
            <a:pPr>
              <a:spcBef>
                <a:spcPct val="0"/>
              </a:spcBef>
            </a:pPr>
            <a:endParaRPr lang="en-GB" altLang="en-US" sz="2000" dirty="0">
              <a:latin typeface="Arial" panose="020B0604020202020204" pitchFamily="34" charset="0"/>
              <a:cs typeface="Arial" panose="020B0604020202020204" pitchFamily="34" charset="0"/>
            </a:endParaRPr>
          </a:p>
          <a:p>
            <a:pPr>
              <a:spcBef>
                <a:spcPct val="0"/>
              </a:spcBef>
            </a:pPr>
            <a:r>
              <a:rPr lang="en-GB" altLang="en-US" dirty="0">
                <a:latin typeface="Arial" panose="020B0604020202020204" pitchFamily="34" charset="0"/>
                <a:cs typeface="Arial" panose="020B0604020202020204" pitchFamily="34" charset="0"/>
              </a:rPr>
              <a:t>m</a:t>
            </a:r>
            <a:r>
              <a:rPr lang="en-GB" altLang="en-US" sz="2000" dirty="0">
                <a:latin typeface="Arial" panose="020B0604020202020204" pitchFamily="34" charset="0"/>
                <a:cs typeface="Arial" panose="020B0604020202020204" pitchFamily="34" charset="0"/>
              </a:rPr>
              <a:t>edical conditions;</a:t>
            </a:r>
          </a:p>
          <a:p>
            <a:pPr>
              <a:spcBef>
                <a:spcPct val="0"/>
              </a:spcBef>
            </a:pPr>
            <a:endParaRPr lang="en-GB" altLang="en-US" sz="2000" dirty="0">
              <a:latin typeface="Arial" panose="020B0604020202020204" pitchFamily="34" charset="0"/>
              <a:cs typeface="Arial" panose="020B0604020202020204" pitchFamily="34" charset="0"/>
            </a:endParaRPr>
          </a:p>
          <a:p>
            <a:pPr>
              <a:spcBef>
                <a:spcPct val="0"/>
              </a:spcBef>
            </a:pPr>
            <a:r>
              <a:rPr lang="en-GB" altLang="en-US" dirty="0">
                <a:latin typeface="Arial" panose="020B0604020202020204" pitchFamily="34" charset="0"/>
                <a:cs typeface="Arial" panose="020B0604020202020204" pitchFamily="34" charset="0"/>
              </a:rPr>
              <a:t>p</a:t>
            </a:r>
            <a:r>
              <a:rPr lang="en-GB" altLang="en-US" sz="2000" dirty="0">
                <a:latin typeface="Arial" panose="020B0604020202020204" pitchFamily="34" charset="0"/>
                <a:cs typeface="Arial" panose="020B0604020202020204" pitchFamily="34" charset="0"/>
              </a:rPr>
              <a:t>sychological conditions.</a:t>
            </a:r>
          </a:p>
          <a:p>
            <a:pPr marL="0" indent="0">
              <a:buNone/>
            </a:pPr>
            <a:endParaRPr lang="en-GB" dirty="0"/>
          </a:p>
        </p:txBody>
      </p:sp>
      <p:pic>
        <p:nvPicPr>
          <p:cNvPr id="6" name="Picture 5" descr="Diagram&#10;&#10;Description automatically generated">
            <a:extLst>
              <a:ext uri="{FF2B5EF4-FFF2-40B4-BE49-F238E27FC236}">
                <a16:creationId xmlns:a16="http://schemas.microsoft.com/office/drawing/2014/main" id="{D2F2628E-D31B-9A7B-E15D-1EF3B28CE3B2}"/>
              </a:ext>
            </a:extLst>
          </p:cNvPr>
          <p:cNvPicPr>
            <a:picLocks noChangeAspect="1"/>
          </p:cNvPicPr>
          <p:nvPr/>
        </p:nvPicPr>
        <p:blipFill rotWithShape="1">
          <a:blip r:embed="rId2"/>
          <a:srcRect l="23293" t="14788" r="24283" b="35030"/>
          <a:stretch/>
        </p:blipFill>
        <p:spPr>
          <a:xfrm>
            <a:off x="7527174" y="2182091"/>
            <a:ext cx="3595255" cy="3441470"/>
          </a:xfrm>
          <a:prstGeom prst="rect">
            <a:avLst/>
          </a:prstGeom>
        </p:spPr>
      </p:pic>
    </p:spTree>
    <p:extLst>
      <p:ext uri="{BB962C8B-B14F-4D97-AF65-F5344CB8AC3E}">
        <p14:creationId xmlns:p14="http://schemas.microsoft.com/office/powerpoint/2010/main" val="384499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en-US" dirty="0">
                <a:latin typeface="Arial" panose="020B0604020202020204" pitchFamily="34" charset="0"/>
                <a:cs typeface="Arial" panose="020B0604020202020204" pitchFamily="34" charset="0"/>
              </a:rPr>
              <a:t>Demo – scales and energy balance</a:t>
            </a:r>
          </a:p>
        </p:txBody>
      </p:sp>
      <p:sp>
        <p:nvSpPr>
          <p:cNvPr id="8" name="TextBox 7">
            <a:extLst>
              <a:ext uri="{FF2B5EF4-FFF2-40B4-BE49-F238E27FC236}">
                <a16:creationId xmlns:a16="http://schemas.microsoft.com/office/drawing/2014/main" id="{82527784-43AF-84A4-7F6E-B7D9F7451E3E}"/>
              </a:ext>
            </a:extLst>
          </p:cNvPr>
          <p:cNvSpPr txBox="1"/>
          <p:nvPr/>
        </p:nvSpPr>
        <p:spPr>
          <a:xfrm>
            <a:off x="2329023" y="5515859"/>
            <a:ext cx="7533954" cy="707886"/>
          </a:xfrm>
          <a:prstGeom prst="rect">
            <a:avLst/>
          </a:prstGeom>
          <a:noFill/>
        </p:spPr>
        <p:txBody>
          <a:bodyPr wrap="square">
            <a:spAutoFit/>
          </a:bodyPr>
          <a:lstStyle/>
          <a:p>
            <a:pPr marL="0" indent="0">
              <a:buNone/>
            </a:pPr>
            <a:r>
              <a:rPr lang="en-GB" sz="2000" dirty="0">
                <a:latin typeface="Arial" panose="020B0604020202020204" pitchFamily="34" charset="0"/>
                <a:cs typeface="Arial" panose="020B0604020202020204" pitchFamily="34" charset="0"/>
              </a:rPr>
              <a:t>To maintain body weight it is necessary to balance energy intake (from food and drink) with energy expenditure (from activity).</a:t>
            </a:r>
          </a:p>
        </p:txBody>
      </p:sp>
      <p:pic>
        <p:nvPicPr>
          <p:cNvPr id="4" name="Picture 3">
            <a:extLst>
              <a:ext uri="{FF2B5EF4-FFF2-40B4-BE49-F238E27FC236}">
                <a16:creationId xmlns:a16="http://schemas.microsoft.com/office/drawing/2014/main" id="{4BF03EBE-78B9-E9B3-5B92-886240B6F377}"/>
              </a:ext>
            </a:extLst>
          </p:cNvPr>
          <p:cNvPicPr>
            <a:picLocks noChangeAspect="1"/>
          </p:cNvPicPr>
          <p:nvPr/>
        </p:nvPicPr>
        <p:blipFill rotWithShape="1">
          <a:blip r:embed="rId2"/>
          <a:srcRect t="38970" b="28303"/>
          <a:stretch/>
        </p:blipFill>
        <p:spPr>
          <a:xfrm>
            <a:off x="952500" y="2672542"/>
            <a:ext cx="10287000" cy="2244436"/>
          </a:xfrm>
          <a:prstGeom prst="rect">
            <a:avLst/>
          </a:prstGeom>
        </p:spPr>
      </p:pic>
    </p:spTree>
    <p:extLst>
      <p:ext uri="{BB962C8B-B14F-4D97-AF65-F5344CB8AC3E}">
        <p14:creationId xmlns:p14="http://schemas.microsoft.com/office/powerpoint/2010/main" val="246627431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pPr marL="0" indent="0">
              <a:buNone/>
            </a:pPr>
            <a:r>
              <a:rPr lang="en-GB" sz="2000" dirty="0"/>
              <a:t>Cancer is a complex disease which can take a long time to develop. </a:t>
            </a:r>
          </a:p>
          <a:p>
            <a:pPr marL="0" indent="0">
              <a:buNone/>
            </a:pPr>
            <a:endParaRPr lang="en-GB" dirty="0"/>
          </a:p>
        </p:txBody>
      </p:sp>
      <p:sp>
        <p:nvSpPr>
          <p:cNvPr id="3" name="Text Placeholder 2"/>
          <p:cNvSpPr>
            <a:spLocks noGrp="1"/>
          </p:cNvSpPr>
          <p:nvPr>
            <p:ph type="body" sz="quarter" idx="3"/>
          </p:nvPr>
        </p:nvSpPr>
        <p:spPr/>
        <p:txBody>
          <a:bodyPr>
            <a:normAutofit lnSpcReduction="10000"/>
          </a:bodyPr>
          <a:lstStyle/>
          <a:p>
            <a:pPr>
              <a:spcBef>
                <a:spcPct val="0"/>
              </a:spcBef>
            </a:pPr>
            <a:r>
              <a:rPr lang="en-GB" altLang="en-US" sz="2000" dirty="0">
                <a:latin typeface="Arial" panose="020B0604020202020204" pitchFamily="34" charset="0"/>
                <a:cs typeface="Arial" panose="020B0604020202020204" pitchFamily="34" charset="0"/>
              </a:rPr>
              <a:t>A wide variety of factors are involved in the development of cancer, including:</a:t>
            </a:r>
          </a:p>
          <a:p>
            <a:pPr>
              <a:spcBef>
                <a:spcPct val="0"/>
              </a:spcBef>
            </a:pPr>
            <a:endParaRPr lang="en-GB" altLang="en-US" sz="2000" dirty="0">
              <a:latin typeface="Arial" panose="020B0604020202020204" pitchFamily="34" charset="0"/>
              <a:cs typeface="Arial" panose="020B0604020202020204" pitchFamily="34" charset="0"/>
            </a:endParaRPr>
          </a:p>
          <a:p>
            <a:pPr marL="342900" indent="-342900">
              <a:spcBef>
                <a:spcPct val="0"/>
              </a:spcBef>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age;</a:t>
            </a:r>
          </a:p>
          <a:p>
            <a:pPr marL="342900" indent="-342900">
              <a:spcBef>
                <a:spcPct val="0"/>
              </a:spcBef>
              <a:buFont typeface="Arial" panose="020B0604020202020204" pitchFamily="34" charset="0"/>
              <a:buChar char="•"/>
            </a:pPr>
            <a:endParaRPr lang="en-GB" altLang="en-US" sz="2000" dirty="0">
              <a:latin typeface="Arial" panose="020B0604020202020204" pitchFamily="34" charset="0"/>
              <a:cs typeface="Arial" panose="020B0604020202020204" pitchFamily="34" charset="0"/>
            </a:endParaRPr>
          </a:p>
          <a:p>
            <a:pPr marL="342900" indent="-342900">
              <a:spcBef>
                <a:spcPct val="0"/>
              </a:spcBef>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genetics;</a:t>
            </a:r>
          </a:p>
          <a:p>
            <a:pPr marL="342900" indent="-342900">
              <a:spcBef>
                <a:spcPct val="0"/>
              </a:spcBef>
              <a:buFont typeface="Arial" panose="020B0604020202020204" pitchFamily="34" charset="0"/>
              <a:buChar char="•"/>
            </a:pPr>
            <a:endParaRPr lang="en-GB" altLang="en-US" sz="2000" dirty="0">
              <a:latin typeface="Arial" panose="020B0604020202020204" pitchFamily="34" charset="0"/>
              <a:cs typeface="Arial" panose="020B0604020202020204" pitchFamily="34" charset="0"/>
            </a:endParaRPr>
          </a:p>
          <a:p>
            <a:pPr marL="342900" indent="-342900">
              <a:spcBef>
                <a:spcPct val="0"/>
              </a:spcBef>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environment;</a:t>
            </a:r>
          </a:p>
          <a:p>
            <a:pPr marL="342900" indent="-342900">
              <a:spcBef>
                <a:spcPct val="0"/>
              </a:spcBef>
              <a:buFont typeface="Arial" panose="020B0604020202020204" pitchFamily="34" charset="0"/>
              <a:buChar char="•"/>
            </a:pPr>
            <a:endParaRPr lang="en-GB" altLang="en-US" sz="2000" dirty="0">
              <a:latin typeface="Arial" panose="020B0604020202020204" pitchFamily="34" charset="0"/>
              <a:cs typeface="Arial" panose="020B0604020202020204" pitchFamily="34" charset="0"/>
            </a:endParaRPr>
          </a:p>
          <a:p>
            <a:pPr marL="342900" indent="-342900">
              <a:spcBef>
                <a:spcPct val="0"/>
              </a:spcBef>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hormones;</a:t>
            </a:r>
          </a:p>
          <a:p>
            <a:pPr marL="342900" indent="-342900">
              <a:spcBef>
                <a:spcPct val="0"/>
              </a:spcBef>
              <a:buFont typeface="Arial" panose="020B0604020202020204" pitchFamily="34" charset="0"/>
              <a:buChar char="•"/>
            </a:pPr>
            <a:endParaRPr lang="en-GB" altLang="en-US" sz="2000" dirty="0">
              <a:latin typeface="Arial" panose="020B0604020202020204" pitchFamily="34" charset="0"/>
              <a:cs typeface="Arial" panose="020B0604020202020204" pitchFamily="34" charset="0"/>
            </a:endParaRPr>
          </a:p>
          <a:p>
            <a:pPr marL="342900" indent="-342900">
              <a:spcBef>
                <a:spcPct val="0"/>
              </a:spcBef>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infections.</a:t>
            </a:r>
            <a:endParaRPr lang="en-GB" dirty="0"/>
          </a:p>
        </p:txBody>
      </p:sp>
      <p:sp>
        <p:nvSpPr>
          <p:cNvPr id="4" name="Title 3"/>
          <p:cNvSpPr>
            <a:spLocks noGrp="1"/>
          </p:cNvSpPr>
          <p:nvPr>
            <p:ph type="title"/>
          </p:nvPr>
        </p:nvSpPr>
        <p:spPr/>
        <p:txBody>
          <a:bodyPr/>
          <a:lstStyle/>
          <a:p>
            <a:r>
              <a:rPr lang="en-GB" dirty="0"/>
              <a:t>Cancer</a:t>
            </a:r>
          </a:p>
        </p:txBody>
      </p:sp>
      <p:pic>
        <p:nvPicPr>
          <p:cNvPr id="7" name="Picture 6" descr="A picture containing wall, person, indoor&#10;&#10;Description automatically generated">
            <a:extLst>
              <a:ext uri="{FF2B5EF4-FFF2-40B4-BE49-F238E27FC236}">
                <a16:creationId xmlns:a16="http://schemas.microsoft.com/office/drawing/2014/main" id="{4D3B5BB3-B79F-9BC6-799A-87CD7B9AA002}"/>
              </a:ext>
            </a:extLst>
          </p:cNvPr>
          <p:cNvPicPr>
            <a:picLocks noChangeAspect="1"/>
          </p:cNvPicPr>
          <p:nvPr/>
        </p:nvPicPr>
        <p:blipFill>
          <a:blip r:embed="rId2"/>
          <a:stretch>
            <a:fillRect/>
          </a:stretch>
        </p:blipFill>
        <p:spPr>
          <a:xfrm>
            <a:off x="1473539" y="3536727"/>
            <a:ext cx="3776797" cy="2507793"/>
          </a:xfrm>
          <a:prstGeom prst="rect">
            <a:avLst/>
          </a:prstGeom>
        </p:spPr>
      </p:pic>
    </p:spTree>
    <p:extLst>
      <p:ext uri="{BB962C8B-B14F-4D97-AF65-F5344CB8AC3E}">
        <p14:creationId xmlns:p14="http://schemas.microsoft.com/office/powerpoint/2010/main" val="12034879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Cancer</a:t>
            </a:r>
          </a:p>
        </p:txBody>
      </p:sp>
      <p:sp>
        <p:nvSpPr>
          <p:cNvPr id="3" name="Subtitle 2"/>
          <p:cNvSpPr>
            <a:spLocks noGrp="1"/>
          </p:cNvSpPr>
          <p:nvPr>
            <p:ph type="subTitle" idx="1"/>
          </p:nvPr>
        </p:nvSpPr>
        <p:spPr>
          <a:xfrm>
            <a:off x="1169276" y="2571092"/>
            <a:ext cx="6502184" cy="3600000"/>
          </a:xfrm>
        </p:spPr>
        <p:txBody>
          <a:bodyPr/>
          <a:lstStyle/>
          <a:p>
            <a:pPr marL="0" indent="0">
              <a:buNone/>
            </a:pPr>
            <a:r>
              <a:rPr lang="en-GB" sz="2000" dirty="0"/>
              <a:t>Cancer occurs when abnormal cells in the body develop and increase rapidly. The abnormal cells can also spread to other parts of the body and multiply.</a:t>
            </a:r>
          </a:p>
          <a:p>
            <a:pPr marL="0" indent="0">
              <a:buNone/>
            </a:pPr>
            <a:endParaRPr lang="en-GB" sz="2000" dirty="0"/>
          </a:p>
          <a:p>
            <a:pPr marL="0" indent="0">
              <a:buNone/>
            </a:pPr>
            <a:r>
              <a:rPr lang="en-GB" sz="2000" dirty="0"/>
              <a:t>Cancer can occur in different parts of the body.</a:t>
            </a:r>
          </a:p>
          <a:p>
            <a:pPr marL="0" indent="0">
              <a:buNone/>
            </a:pPr>
            <a:endParaRPr lang="en-GB" sz="2000" dirty="0"/>
          </a:p>
          <a:p>
            <a:pPr marL="0" indent="0">
              <a:buNone/>
            </a:pPr>
            <a:r>
              <a:rPr lang="en-GB" sz="2000" dirty="0"/>
              <a:t>In the UK, the most common cancers in men are lung, prostate or bowel cancer. The most common cancers in women are lung, breast or bowel cancer.</a:t>
            </a:r>
          </a:p>
          <a:p>
            <a:pPr marL="0" indent="0">
              <a:buNone/>
            </a:pPr>
            <a:endParaRPr lang="en-GB" dirty="0"/>
          </a:p>
        </p:txBody>
      </p:sp>
      <p:pic>
        <p:nvPicPr>
          <p:cNvPr id="6" name="Picture 5">
            <a:extLst>
              <a:ext uri="{FF2B5EF4-FFF2-40B4-BE49-F238E27FC236}">
                <a16:creationId xmlns:a16="http://schemas.microsoft.com/office/drawing/2014/main" id="{50493109-6F37-9691-BE66-CF7930E5307E}"/>
              </a:ext>
            </a:extLst>
          </p:cNvPr>
          <p:cNvPicPr>
            <a:picLocks noChangeAspect="1"/>
          </p:cNvPicPr>
          <p:nvPr/>
        </p:nvPicPr>
        <p:blipFill>
          <a:blip r:embed="rId2"/>
          <a:stretch>
            <a:fillRect/>
          </a:stretch>
        </p:blipFill>
        <p:spPr>
          <a:xfrm>
            <a:off x="7917871" y="3127212"/>
            <a:ext cx="3795079" cy="2166990"/>
          </a:xfrm>
          <a:prstGeom prst="rect">
            <a:avLst/>
          </a:prstGeom>
        </p:spPr>
      </p:pic>
    </p:spTree>
    <p:extLst>
      <p:ext uri="{BB962C8B-B14F-4D97-AF65-F5344CB8AC3E}">
        <p14:creationId xmlns:p14="http://schemas.microsoft.com/office/powerpoint/2010/main" val="36683359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altLang="en-US" dirty="0"/>
              <a:t>Cancer prevention</a:t>
            </a:r>
          </a:p>
        </p:txBody>
      </p:sp>
      <p:sp>
        <p:nvSpPr>
          <p:cNvPr id="3" name="Subtitle 2"/>
          <p:cNvSpPr>
            <a:spLocks noGrp="1"/>
          </p:cNvSpPr>
          <p:nvPr>
            <p:ph type="subTitle" idx="1"/>
          </p:nvPr>
        </p:nvSpPr>
        <p:spPr/>
        <p:txBody>
          <a:bodyPr/>
          <a:lstStyle/>
          <a:p>
            <a:pPr marL="0" indent="0">
              <a:spcBef>
                <a:spcPct val="0"/>
              </a:spcBef>
              <a:buNone/>
            </a:pPr>
            <a:r>
              <a:rPr lang="en-GB" altLang="en-US" sz="2000" dirty="0"/>
              <a:t>The World Cancer Research Fund</a:t>
            </a:r>
          </a:p>
          <a:p>
            <a:pPr marL="0" indent="0">
              <a:spcBef>
                <a:spcPct val="0"/>
              </a:spcBef>
              <a:buNone/>
            </a:pPr>
            <a:r>
              <a:rPr lang="en-GB" altLang="en-US" sz="2000" dirty="0"/>
              <a:t>has released nine cancer prevention</a:t>
            </a:r>
          </a:p>
          <a:p>
            <a:pPr marL="0" indent="0">
              <a:spcBef>
                <a:spcPct val="0"/>
              </a:spcBef>
              <a:buNone/>
            </a:pPr>
            <a:r>
              <a:rPr lang="en-GB" altLang="en-US" dirty="0"/>
              <a:t>r</a:t>
            </a:r>
            <a:r>
              <a:rPr lang="en-GB" altLang="en-US" sz="2000" dirty="0"/>
              <a:t>ecommendations:</a:t>
            </a:r>
          </a:p>
          <a:p>
            <a:pPr marL="0" indent="0">
              <a:spcBef>
                <a:spcPct val="0"/>
              </a:spcBef>
              <a:buNone/>
            </a:pPr>
            <a:endParaRPr lang="en-GB" altLang="en-US" sz="2000" dirty="0"/>
          </a:p>
          <a:p>
            <a:pPr>
              <a:spcBef>
                <a:spcPct val="0"/>
              </a:spcBef>
            </a:pPr>
            <a:r>
              <a:rPr lang="en-GB" altLang="en-US" sz="2000" dirty="0"/>
              <a:t>Be a healthy weight.</a:t>
            </a:r>
          </a:p>
          <a:p>
            <a:pPr>
              <a:spcBef>
                <a:spcPct val="0"/>
              </a:spcBef>
            </a:pPr>
            <a:r>
              <a:rPr lang="en-GB" altLang="en-US" sz="2000" dirty="0"/>
              <a:t>Move more.</a:t>
            </a:r>
          </a:p>
          <a:p>
            <a:pPr>
              <a:spcBef>
                <a:spcPct val="0"/>
              </a:spcBef>
            </a:pPr>
            <a:r>
              <a:rPr lang="en-GB" altLang="en-US" sz="2000" dirty="0"/>
              <a:t>Avoid high-calorie foods and drinks.</a:t>
            </a:r>
          </a:p>
          <a:p>
            <a:pPr>
              <a:spcBef>
                <a:spcPct val="0"/>
              </a:spcBef>
            </a:pPr>
            <a:r>
              <a:rPr lang="en-GB" altLang="en-US" sz="2000" dirty="0"/>
              <a:t>Enjoy more grains, veg, fruit and barley.</a:t>
            </a:r>
          </a:p>
          <a:p>
            <a:pPr>
              <a:spcBef>
                <a:spcPct val="0"/>
              </a:spcBef>
            </a:pPr>
            <a:r>
              <a:rPr lang="en-GB" altLang="en-US" sz="2000" dirty="0"/>
              <a:t>Limit intake of red meat and avoid processed meat.</a:t>
            </a:r>
          </a:p>
          <a:p>
            <a:pPr>
              <a:spcBef>
                <a:spcPct val="0"/>
              </a:spcBef>
            </a:pPr>
            <a:r>
              <a:rPr lang="en-GB" altLang="en-US" sz="2000" dirty="0"/>
              <a:t>Don’t drink alcohol.</a:t>
            </a:r>
          </a:p>
          <a:p>
            <a:pPr>
              <a:spcBef>
                <a:spcPct val="0"/>
              </a:spcBef>
            </a:pPr>
            <a:r>
              <a:rPr lang="en-GB" altLang="en-US" sz="2000" dirty="0"/>
              <a:t>Eat less salt.</a:t>
            </a:r>
          </a:p>
          <a:p>
            <a:pPr>
              <a:spcBef>
                <a:spcPct val="0"/>
              </a:spcBef>
            </a:pPr>
            <a:r>
              <a:rPr lang="en-GB" altLang="en-US" sz="2000" dirty="0"/>
              <a:t>Don’t rely on supplements.</a:t>
            </a:r>
          </a:p>
          <a:p>
            <a:pPr>
              <a:spcBef>
                <a:spcPct val="0"/>
              </a:spcBef>
            </a:pPr>
            <a:r>
              <a:rPr lang="en-GB" altLang="en-US" sz="2000" dirty="0"/>
              <a:t>Breastfeed your baby.</a:t>
            </a:r>
          </a:p>
          <a:p>
            <a:pPr marL="0" indent="0">
              <a:buNone/>
            </a:pPr>
            <a:endParaRPr lang="en-GB" dirty="0"/>
          </a:p>
        </p:txBody>
      </p:sp>
      <p:pic>
        <p:nvPicPr>
          <p:cNvPr id="1030" name="Picture 6">
            <a:extLst>
              <a:ext uri="{FF2B5EF4-FFF2-40B4-BE49-F238E27FC236}">
                <a16:creationId xmlns:a16="http://schemas.microsoft.com/office/drawing/2014/main" id="{DE61A7DA-59C3-6EC3-A7D3-EB064931E63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397" t="52606" r="71943" b="25091"/>
          <a:stretch/>
        </p:blipFill>
        <p:spPr bwMode="auto">
          <a:xfrm>
            <a:off x="7801495" y="2818016"/>
            <a:ext cx="3497512" cy="21239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218268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Coronary heart disease</a:t>
            </a:r>
          </a:p>
        </p:txBody>
      </p:sp>
      <p:sp>
        <p:nvSpPr>
          <p:cNvPr id="3" name="Subtitle 2"/>
          <p:cNvSpPr>
            <a:spLocks noGrp="1"/>
          </p:cNvSpPr>
          <p:nvPr>
            <p:ph type="subTitle" idx="1"/>
          </p:nvPr>
        </p:nvSpPr>
        <p:spPr>
          <a:xfrm>
            <a:off x="1169276" y="2571092"/>
            <a:ext cx="6074672" cy="3600000"/>
          </a:xfrm>
        </p:spPr>
        <p:txBody>
          <a:bodyPr/>
          <a:lstStyle/>
          <a:p>
            <a:pPr marL="0" indent="0">
              <a:spcBef>
                <a:spcPct val="0"/>
              </a:spcBef>
              <a:buNone/>
            </a:pPr>
            <a:r>
              <a:rPr lang="en-GB" altLang="en-US" sz="2000" dirty="0"/>
              <a:t>Coronary heart disease (CHD) is caused by a narrowing of the blood vessels to the heart. This reduces the flow of blood to the heart.</a:t>
            </a:r>
          </a:p>
          <a:p>
            <a:pPr marL="0" indent="0">
              <a:spcBef>
                <a:spcPct val="0"/>
              </a:spcBef>
              <a:buNone/>
            </a:pPr>
            <a:endParaRPr lang="en-GB" altLang="en-US" sz="2000" dirty="0"/>
          </a:p>
          <a:p>
            <a:pPr marL="0" indent="0">
              <a:spcBef>
                <a:spcPct val="0"/>
              </a:spcBef>
              <a:buNone/>
            </a:pPr>
            <a:r>
              <a:rPr lang="en-GB" altLang="en-US" sz="2000" dirty="0"/>
              <a:t>If one of the blood vessels becomes completely blocked, the blood supply to part of the heart stops and that part is damaged. This is called a heart attack.</a:t>
            </a:r>
          </a:p>
          <a:p>
            <a:pPr marL="0" indent="0">
              <a:buNone/>
            </a:pPr>
            <a:endParaRPr lang="en-GB" dirty="0"/>
          </a:p>
        </p:txBody>
      </p:sp>
      <p:pic>
        <p:nvPicPr>
          <p:cNvPr id="6" name="Picture 5">
            <a:extLst>
              <a:ext uri="{FF2B5EF4-FFF2-40B4-BE49-F238E27FC236}">
                <a16:creationId xmlns:a16="http://schemas.microsoft.com/office/drawing/2014/main" id="{5A650B60-BAD1-991F-5C3F-A63BC09C31CF}"/>
              </a:ext>
            </a:extLst>
          </p:cNvPr>
          <p:cNvPicPr>
            <a:picLocks noChangeAspect="1"/>
          </p:cNvPicPr>
          <p:nvPr/>
        </p:nvPicPr>
        <p:blipFill>
          <a:blip r:embed="rId2"/>
          <a:stretch>
            <a:fillRect/>
          </a:stretch>
        </p:blipFill>
        <p:spPr>
          <a:xfrm>
            <a:off x="8357507" y="2986007"/>
            <a:ext cx="3058194" cy="2116270"/>
          </a:xfrm>
          <a:prstGeom prst="rect">
            <a:avLst/>
          </a:prstGeom>
        </p:spPr>
      </p:pic>
    </p:spTree>
    <p:extLst>
      <p:ext uri="{BB962C8B-B14F-4D97-AF65-F5344CB8AC3E}">
        <p14:creationId xmlns:p14="http://schemas.microsoft.com/office/powerpoint/2010/main" val="295365463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Coronary heart disease</a:t>
            </a:r>
          </a:p>
        </p:txBody>
      </p:sp>
      <p:sp>
        <p:nvSpPr>
          <p:cNvPr id="3" name="Subtitle 2"/>
          <p:cNvSpPr>
            <a:spLocks noGrp="1"/>
          </p:cNvSpPr>
          <p:nvPr>
            <p:ph type="subTitle" idx="1"/>
          </p:nvPr>
        </p:nvSpPr>
        <p:spPr>
          <a:xfrm>
            <a:off x="1169276" y="2571092"/>
            <a:ext cx="6407181" cy="3600000"/>
          </a:xfrm>
        </p:spPr>
        <p:txBody>
          <a:bodyPr/>
          <a:lstStyle/>
          <a:p>
            <a:pPr marL="0" indent="0">
              <a:buNone/>
            </a:pPr>
            <a:r>
              <a:rPr lang="en-GB" sz="2000" dirty="0"/>
              <a:t>It is estimated 7 million people in the UK are living with Coronary heart disease (CHD), which costs the NHS £6.8 billion a year. CHD is the leading cause of death in the UK, with around 1 person dying from CHD every 8 minutes. </a:t>
            </a:r>
          </a:p>
          <a:p>
            <a:pPr marL="0" indent="0">
              <a:buNone/>
            </a:pPr>
            <a:r>
              <a:rPr lang="en-GB" sz="2000" dirty="0"/>
              <a:t>However, it is believed 80% of CHD and strokes could be prevented by changes to lifestyle factors, such as diet, physical activity and smoking.</a:t>
            </a:r>
          </a:p>
          <a:p>
            <a:pPr marL="0" indent="0">
              <a:buNone/>
            </a:pPr>
            <a:endParaRPr lang="en-GB" dirty="0"/>
          </a:p>
        </p:txBody>
      </p:sp>
      <p:sp>
        <p:nvSpPr>
          <p:cNvPr id="4" name="Rectangle 3"/>
          <p:cNvSpPr/>
          <p:nvPr/>
        </p:nvSpPr>
        <p:spPr>
          <a:xfrm>
            <a:off x="872560" y="5986426"/>
            <a:ext cx="2304256" cy="307777"/>
          </a:xfrm>
          <a:prstGeom prst="rect">
            <a:avLst/>
          </a:prstGeom>
        </p:spPr>
        <p:txBody>
          <a:bodyPr wrap="square">
            <a:spAutoFit/>
          </a:bodyPr>
          <a:lstStyle/>
          <a:p>
            <a:r>
              <a:rPr lang="en-GB" sz="1400" dirty="0">
                <a:latin typeface="Arial" panose="020B0604020202020204" pitchFamily="34" charset="0"/>
                <a:cs typeface="Arial" panose="020B0604020202020204" pitchFamily="34" charset="0"/>
                <a:hlinkClick r:id="rId2"/>
              </a:rPr>
              <a:t>www.nutrition.org.uk </a:t>
            </a:r>
            <a:endParaRPr lang="en-GB" sz="1400" dirty="0">
              <a:latin typeface="Arial" panose="020B0604020202020204" pitchFamily="34" charset="0"/>
              <a:cs typeface="Arial" panose="020B0604020202020204" pitchFamily="34" charset="0"/>
            </a:endParaRPr>
          </a:p>
        </p:txBody>
      </p:sp>
      <p:pic>
        <p:nvPicPr>
          <p:cNvPr id="6" name="Picture 5" descr="A close-up of a doctor writing on a whiteboard&#10;&#10;Description automatically generated with medium confidence">
            <a:extLst>
              <a:ext uri="{FF2B5EF4-FFF2-40B4-BE49-F238E27FC236}">
                <a16:creationId xmlns:a16="http://schemas.microsoft.com/office/drawing/2014/main" id="{BEE80B02-A3F4-78F3-A30C-B6AE9706B988}"/>
              </a:ext>
            </a:extLst>
          </p:cNvPr>
          <p:cNvPicPr>
            <a:picLocks noChangeAspect="1"/>
          </p:cNvPicPr>
          <p:nvPr/>
        </p:nvPicPr>
        <p:blipFill>
          <a:blip r:embed="rId3"/>
          <a:stretch>
            <a:fillRect/>
          </a:stretch>
        </p:blipFill>
        <p:spPr>
          <a:xfrm>
            <a:off x="8271163" y="3098015"/>
            <a:ext cx="3048000" cy="1734312"/>
          </a:xfrm>
          <a:prstGeom prst="rect">
            <a:avLst/>
          </a:prstGeom>
        </p:spPr>
      </p:pic>
    </p:spTree>
    <p:extLst>
      <p:ext uri="{BB962C8B-B14F-4D97-AF65-F5344CB8AC3E}">
        <p14:creationId xmlns:p14="http://schemas.microsoft.com/office/powerpoint/2010/main" val="328222744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normAutofit lnSpcReduction="10000"/>
          </a:bodyPr>
          <a:lstStyle/>
          <a:p>
            <a:pPr marL="0" indent="0">
              <a:spcBef>
                <a:spcPct val="0"/>
              </a:spcBef>
              <a:buNone/>
            </a:pPr>
            <a:r>
              <a:rPr lang="en-GB" altLang="en-US" sz="2000" dirty="0"/>
              <a:t>The chance of suffering from CHD is affected by many factors. These are called risk factors.</a:t>
            </a:r>
          </a:p>
          <a:p>
            <a:pPr marL="0" indent="0">
              <a:spcBef>
                <a:spcPct val="0"/>
              </a:spcBef>
              <a:buNone/>
            </a:pPr>
            <a:r>
              <a:rPr lang="en-GB" altLang="en-US" sz="2000" dirty="0"/>
              <a:t>Factors that increase the risk of CHD include being:</a:t>
            </a:r>
            <a:endParaRPr lang="en-GB" altLang="en-US" dirty="0"/>
          </a:p>
          <a:p>
            <a:r>
              <a:rPr lang="en-GB" altLang="en-US" sz="2000" dirty="0"/>
              <a:t>male;</a:t>
            </a:r>
          </a:p>
          <a:p>
            <a:r>
              <a:rPr lang="en-GB" altLang="en-US" sz="2000" dirty="0"/>
              <a:t>older;</a:t>
            </a:r>
          </a:p>
          <a:p>
            <a:r>
              <a:rPr lang="en-GB" altLang="en-US" sz="2000" dirty="0"/>
              <a:t>a cigarette smoker;</a:t>
            </a:r>
          </a:p>
          <a:p>
            <a:r>
              <a:rPr lang="en-GB" altLang="en-US" sz="2000" dirty="0"/>
              <a:t>overweight;</a:t>
            </a:r>
          </a:p>
          <a:p>
            <a:r>
              <a:rPr lang="en-GB" altLang="en-US" sz="2000" dirty="0"/>
              <a:t>inactive;</a:t>
            </a:r>
          </a:p>
          <a:p>
            <a:r>
              <a:rPr lang="en-GB" altLang="en-US" sz="2000" dirty="0"/>
              <a:t>stressed.</a:t>
            </a:r>
            <a:endParaRPr lang="en-US" altLang="en-US" sz="2000" dirty="0"/>
          </a:p>
        </p:txBody>
      </p:sp>
      <p:sp>
        <p:nvSpPr>
          <p:cNvPr id="3" name="Text Placeholder 2"/>
          <p:cNvSpPr>
            <a:spLocks noGrp="1"/>
          </p:cNvSpPr>
          <p:nvPr>
            <p:ph type="body" sz="quarter" idx="3"/>
          </p:nvPr>
        </p:nvSpPr>
        <p:spPr/>
        <p:txBody>
          <a:bodyPr>
            <a:normAutofit/>
          </a:bodyPr>
          <a:lstStyle/>
          <a:p>
            <a:pPr>
              <a:spcBef>
                <a:spcPct val="0"/>
              </a:spcBef>
            </a:pPr>
            <a:r>
              <a:rPr lang="en-GB" altLang="en-US" sz="2000" dirty="0"/>
              <a:t>Factors that increase the risk of CHD also include having:</a:t>
            </a:r>
          </a:p>
          <a:p>
            <a:pPr>
              <a:spcBef>
                <a:spcPct val="0"/>
              </a:spcBef>
            </a:pPr>
            <a:endParaRPr lang="en-GB" altLang="en-US" sz="2000" dirty="0"/>
          </a:p>
          <a:p>
            <a:pPr marL="342900" indent="-342900">
              <a:spcBef>
                <a:spcPct val="0"/>
              </a:spcBef>
              <a:buFont typeface="Arial" panose="020B0604020202020204" pitchFamily="34" charset="0"/>
              <a:buChar char="•"/>
            </a:pPr>
            <a:r>
              <a:rPr lang="en-GB" altLang="en-US" sz="2000" dirty="0"/>
              <a:t>a family history of CHD;</a:t>
            </a:r>
          </a:p>
          <a:p>
            <a:pPr marL="342900" indent="-342900">
              <a:spcBef>
                <a:spcPct val="0"/>
              </a:spcBef>
              <a:buFont typeface="Arial" panose="020B0604020202020204" pitchFamily="34" charset="0"/>
              <a:buChar char="•"/>
            </a:pPr>
            <a:r>
              <a:rPr lang="en-GB" altLang="en-US" sz="2000" dirty="0"/>
              <a:t>high blood cholesterol level;</a:t>
            </a:r>
          </a:p>
          <a:p>
            <a:pPr marL="342900" indent="-342900">
              <a:spcBef>
                <a:spcPct val="0"/>
              </a:spcBef>
              <a:buFont typeface="Arial" panose="020B0604020202020204" pitchFamily="34" charset="0"/>
              <a:buChar char="•"/>
            </a:pPr>
            <a:r>
              <a:rPr lang="en-GB" altLang="en-US" sz="2000" dirty="0"/>
              <a:t>high blood pressure;</a:t>
            </a:r>
          </a:p>
          <a:p>
            <a:pPr marL="342900" indent="-342900">
              <a:spcBef>
                <a:spcPct val="0"/>
              </a:spcBef>
              <a:buFont typeface="Arial" panose="020B0604020202020204" pitchFamily="34" charset="0"/>
              <a:buChar char="•"/>
            </a:pPr>
            <a:r>
              <a:rPr lang="en-GB" altLang="en-US" sz="2000" dirty="0"/>
              <a:t>high intake of saturated fats;</a:t>
            </a:r>
          </a:p>
          <a:p>
            <a:pPr marL="342900" indent="-342900">
              <a:spcBef>
                <a:spcPct val="0"/>
              </a:spcBef>
              <a:buFont typeface="Arial" panose="020B0604020202020204" pitchFamily="34" charset="0"/>
              <a:buChar char="•"/>
            </a:pPr>
            <a:r>
              <a:rPr lang="en-GB" altLang="en-US" sz="2000" dirty="0"/>
              <a:t>diabetes.</a:t>
            </a:r>
          </a:p>
          <a:p>
            <a:endParaRPr lang="en-GB" dirty="0"/>
          </a:p>
        </p:txBody>
      </p:sp>
      <p:sp>
        <p:nvSpPr>
          <p:cNvPr id="4" name="Title 3"/>
          <p:cNvSpPr>
            <a:spLocks noGrp="1"/>
          </p:cNvSpPr>
          <p:nvPr>
            <p:ph type="title"/>
          </p:nvPr>
        </p:nvSpPr>
        <p:spPr/>
        <p:txBody>
          <a:bodyPr/>
          <a:lstStyle/>
          <a:p>
            <a:r>
              <a:rPr lang="en-GB" dirty="0"/>
              <a:t>CHD</a:t>
            </a:r>
          </a:p>
        </p:txBody>
      </p:sp>
    </p:spTree>
    <p:extLst>
      <p:ext uri="{BB962C8B-B14F-4D97-AF65-F5344CB8AC3E}">
        <p14:creationId xmlns:p14="http://schemas.microsoft.com/office/powerpoint/2010/main" val="404399770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Coronary heart disease</a:t>
            </a:r>
          </a:p>
        </p:txBody>
      </p:sp>
      <p:sp>
        <p:nvSpPr>
          <p:cNvPr id="3" name="Subtitle 2"/>
          <p:cNvSpPr>
            <a:spLocks noGrp="1"/>
          </p:cNvSpPr>
          <p:nvPr>
            <p:ph type="subTitle" idx="1"/>
          </p:nvPr>
        </p:nvSpPr>
        <p:spPr/>
        <p:txBody>
          <a:bodyPr/>
          <a:lstStyle/>
          <a:p>
            <a:pPr marL="0" indent="0">
              <a:spcBef>
                <a:spcPct val="0"/>
              </a:spcBef>
              <a:buNone/>
            </a:pPr>
            <a:r>
              <a:rPr lang="en-GB" altLang="en-US" sz="2000" dirty="0">
                <a:latin typeface="Arial" panose="020B0604020202020204" pitchFamily="34" charset="0"/>
                <a:cs typeface="Arial" panose="020B0604020202020204" pitchFamily="34" charset="0"/>
              </a:rPr>
              <a:t>Changes to the diet to reduce the risk of CHD include:</a:t>
            </a:r>
          </a:p>
          <a:p>
            <a:pPr marL="0" indent="0">
              <a:spcBef>
                <a:spcPct val="0"/>
              </a:spcBef>
              <a:buNone/>
            </a:pPr>
            <a:endParaRPr lang="en-GB" altLang="en-US" sz="2000" dirty="0">
              <a:latin typeface="Arial" panose="020B0604020202020204" pitchFamily="34" charset="0"/>
              <a:cs typeface="Arial" panose="020B0604020202020204" pitchFamily="34" charset="0"/>
            </a:endParaRPr>
          </a:p>
          <a:p>
            <a:pPr>
              <a:lnSpc>
                <a:spcPct val="150000"/>
              </a:lnSpc>
              <a:spcBef>
                <a:spcPct val="0"/>
              </a:spcBef>
            </a:pPr>
            <a:r>
              <a:rPr lang="en-GB" altLang="en-US" sz="2000" dirty="0">
                <a:latin typeface="Arial" panose="020B0604020202020204" pitchFamily="34" charset="0"/>
                <a:cs typeface="Arial" panose="020B0604020202020204" pitchFamily="34" charset="0"/>
              </a:rPr>
              <a:t>increasing oily fish intake;</a:t>
            </a:r>
          </a:p>
          <a:p>
            <a:pPr>
              <a:lnSpc>
                <a:spcPct val="150000"/>
              </a:lnSpc>
              <a:spcBef>
                <a:spcPct val="0"/>
              </a:spcBef>
            </a:pPr>
            <a:r>
              <a:rPr lang="en-GB" altLang="en-US" sz="2000" dirty="0">
                <a:latin typeface="Arial" panose="020B0604020202020204" pitchFamily="34" charset="0"/>
                <a:cs typeface="Arial" panose="020B0604020202020204" pitchFamily="34" charset="0"/>
              </a:rPr>
              <a:t>reducing salt intake;</a:t>
            </a:r>
          </a:p>
          <a:p>
            <a:pPr>
              <a:lnSpc>
                <a:spcPct val="150000"/>
              </a:lnSpc>
              <a:spcBef>
                <a:spcPct val="0"/>
              </a:spcBef>
            </a:pPr>
            <a:r>
              <a:rPr lang="en-GB" altLang="en-US" sz="2000" dirty="0">
                <a:latin typeface="Arial" panose="020B0604020202020204" pitchFamily="34" charset="0"/>
                <a:cs typeface="Arial" panose="020B0604020202020204" pitchFamily="34" charset="0"/>
              </a:rPr>
              <a:t>increase fruit and vegetables;</a:t>
            </a:r>
          </a:p>
          <a:p>
            <a:pPr>
              <a:lnSpc>
                <a:spcPct val="150000"/>
              </a:lnSpc>
              <a:spcBef>
                <a:spcPct val="0"/>
              </a:spcBef>
            </a:pPr>
            <a:r>
              <a:rPr lang="en-GB" altLang="en-US" sz="2000" dirty="0">
                <a:latin typeface="Arial" panose="020B0604020202020204" pitchFamily="34" charset="0"/>
                <a:cs typeface="Arial" panose="020B0604020202020204" pitchFamily="34" charset="0"/>
              </a:rPr>
              <a:t>decreasing alcohol consumption.</a:t>
            </a:r>
          </a:p>
          <a:p>
            <a:endParaRPr lang="en-GB" dirty="0"/>
          </a:p>
        </p:txBody>
      </p:sp>
      <p:pic>
        <p:nvPicPr>
          <p:cNvPr id="5" name="Picture 4" descr="A pile of fish&#10;&#10;Description automatically generated with low confidence">
            <a:extLst>
              <a:ext uri="{FF2B5EF4-FFF2-40B4-BE49-F238E27FC236}">
                <a16:creationId xmlns:a16="http://schemas.microsoft.com/office/drawing/2014/main" id="{4084E2DC-0169-9880-1516-2826B1D25D68}"/>
              </a:ext>
            </a:extLst>
          </p:cNvPr>
          <p:cNvPicPr>
            <a:picLocks noChangeAspect="1"/>
          </p:cNvPicPr>
          <p:nvPr/>
        </p:nvPicPr>
        <p:blipFill>
          <a:blip r:embed="rId2"/>
          <a:stretch>
            <a:fillRect/>
          </a:stretch>
        </p:blipFill>
        <p:spPr>
          <a:xfrm>
            <a:off x="8160326" y="2855421"/>
            <a:ext cx="3147753" cy="2360815"/>
          </a:xfrm>
          <a:prstGeom prst="rect">
            <a:avLst/>
          </a:prstGeom>
        </p:spPr>
      </p:pic>
    </p:spTree>
    <p:extLst>
      <p:ext uri="{BB962C8B-B14F-4D97-AF65-F5344CB8AC3E}">
        <p14:creationId xmlns:p14="http://schemas.microsoft.com/office/powerpoint/2010/main" val="363490867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BMI</a:t>
            </a:r>
          </a:p>
        </p:txBody>
      </p:sp>
      <p:sp>
        <p:nvSpPr>
          <p:cNvPr id="3" name="Subtitle 2"/>
          <p:cNvSpPr>
            <a:spLocks noGrp="1"/>
          </p:cNvSpPr>
          <p:nvPr>
            <p:ph type="subTitle" idx="1"/>
          </p:nvPr>
        </p:nvSpPr>
        <p:spPr/>
        <p:txBody>
          <a:bodyPr/>
          <a:lstStyle/>
          <a:p>
            <a:pPr marL="0" indent="0">
              <a:buNone/>
            </a:pPr>
            <a:r>
              <a:rPr lang="en-GB" sz="2000" dirty="0"/>
              <a:t>If a person regularly consumes more energy from food and drink than they need, they will start to gain weight, eventually becoming overweight. For example, energy in &gt; energy out.</a:t>
            </a:r>
          </a:p>
          <a:p>
            <a:pPr marL="0" indent="0">
              <a:buNone/>
            </a:pPr>
            <a:r>
              <a:rPr lang="en-GB" sz="2000" dirty="0"/>
              <a:t>Extra energy from food and drink is stored in the body as fat. There are a range of weights which are considered healthy for a given height. These can be calculated by calculating BMI (Body Mass Index).</a:t>
            </a:r>
          </a:p>
          <a:p>
            <a:pPr marL="0" indent="0">
              <a:buNone/>
            </a:pPr>
            <a:endParaRPr lang="en-GB" sz="2000" dirty="0"/>
          </a:p>
          <a:p>
            <a:pPr marL="0" indent="0">
              <a:buNone/>
            </a:pPr>
            <a:r>
              <a:rPr lang="en-GB" sz="2000" dirty="0"/>
              <a:t>BMI =</a:t>
            </a:r>
          </a:p>
          <a:p>
            <a:pPr marL="0" indent="0">
              <a:buNone/>
            </a:pPr>
            <a:endParaRPr lang="en-GB" dirty="0"/>
          </a:p>
        </p:txBody>
      </p:sp>
      <p:grpSp>
        <p:nvGrpSpPr>
          <p:cNvPr id="4" name="Group 9"/>
          <p:cNvGrpSpPr>
            <a:grpSpLocks/>
          </p:cNvGrpSpPr>
          <p:nvPr/>
        </p:nvGrpSpPr>
        <p:grpSpPr bwMode="auto">
          <a:xfrm>
            <a:off x="1740841" y="4743420"/>
            <a:ext cx="2759089" cy="975464"/>
            <a:chOff x="1547664" y="4005064"/>
            <a:chExt cx="4650570" cy="977003"/>
          </a:xfrm>
        </p:grpSpPr>
        <p:sp>
          <p:nvSpPr>
            <p:cNvPr id="5" name="Text Box 6"/>
            <p:cNvSpPr txBox="1">
              <a:spLocks noChangeArrowheads="1"/>
            </p:cNvSpPr>
            <p:nvPr/>
          </p:nvSpPr>
          <p:spPr bwMode="auto">
            <a:xfrm>
              <a:off x="2195364" y="4005064"/>
              <a:ext cx="2424175" cy="4007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GB" altLang="en-US" sz="2000" dirty="0"/>
                <a:t>weight (kg)</a:t>
              </a:r>
            </a:p>
          </p:txBody>
        </p:sp>
        <p:sp>
          <p:nvSpPr>
            <p:cNvPr id="6" name="Text Box 7"/>
            <p:cNvSpPr txBox="1">
              <a:spLocks noChangeArrowheads="1"/>
            </p:cNvSpPr>
            <p:nvPr/>
          </p:nvSpPr>
          <p:spPr bwMode="auto">
            <a:xfrm>
              <a:off x="1547664" y="4581326"/>
              <a:ext cx="4650570" cy="4007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20000"/>
                </a:spcBef>
              </a:pPr>
              <a:r>
                <a:rPr lang="en-GB" altLang="en-US" sz="2000" dirty="0"/>
                <a:t>height (m) x height (m)</a:t>
              </a:r>
            </a:p>
          </p:txBody>
        </p:sp>
        <p:sp>
          <p:nvSpPr>
            <p:cNvPr id="7" name="Line 8"/>
            <p:cNvSpPr>
              <a:spLocks noChangeShapeType="1"/>
            </p:cNvSpPr>
            <p:nvPr/>
          </p:nvSpPr>
          <p:spPr bwMode="auto">
            <a:xfrm>
              <a:off x="1619101" y="4521001"/>
              <a:ext cx="4464050"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grpSp>
      <p:sp>
        <p:nvSpPr>
          <p:cNvPr id="9" name="Text Placeholder 1">
            <a:extLst>
              <a:ext uri="{FF2B5EF4-FFF2-40B4-BE49-F238E27FC236}">
                <a16:creationId xmlns:a16="http://schemas.microsoft.com/office/drawing/2014/main" id="{3D16CB86-6C65-DDD5-0A21-BAB954AF8F89}"/>
              </a:ext>
            </a:extLst>
          </p:cNvPr>
          <p:cNvSpPr>
            <a:spLocks/>
          </p:cNvSpPr>
          <p:nvPr/>
        </p:nvSpPr>
        <p:spPr bwMode="auto">
          <a:xfrm>
            <a:off x="7474300" y="4256051"/>
            <a:ext cx="4392613" cy="2238375"/>
          </a:xfrm>
          <a:prstGeom prst="roundRect">
            <a:avLst>
              <a:gd name="adj" fmla="val 9366"/>
            </a:avLst>
          </a:prstGeom>
          <a:solidFill>
            <a:srgbClr val="FCE3C2"/>
          </a:solidFill>
          <a:ln w="25400">
            <a:solidFill>
              <a:schemeClr val="tx1"/>
            </a:solidFill>
            <a:round/>
            <a:headEnd/>
            <a:tailEnd/>
          </a:ln>
        </p:spPr>
        <p:txBody>
          <a:bodyPr lIns="180000" tIns="90000" rIns="180000" bIns="90000"/>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buFont typeface="Arial" charset="0"/>
              <a:buNone/>
            </a:pPr>
            <a:r>
              <a:rPr lang="en-GB" altLang="en-US" b="1" dirty="0">
                <a:latin typeface="Arial" panose="020B0604020202020204" pitchFamily="34" charset="0"/>
                <a:cs typeface="Arial" panose="020B0604020202020204" pitchFamily="34" charset="0"/>
              </a:rPr>
              <a:t>Recommended BMI range</a:t>
            </a:r>
          </a:p>
          <a:p>
            <a:pPr>
              <a:buFont typeface="Arial" charset="0"/>
              <a:buNone/>
            </a:pPr>
            <a:endParaRPr lang="en-GB" altLang="en-US" dirty="0">
              <a:latin typeface="Arial" panose="020B0604020202020204" pitchFamily="34" charset="0"/>
              <a:cs typeface="Arial" panose="020B0604020202020204" pitchFamily="34" charset="0"/>
            </a:endParaRPr>
          </a:p>
          <a:p>
            <a:pPr>
              <a:buFont typeface="Arial" charset="0"/>
              <a:buNone/>
            </a:pPr>
            <a:r>
              <a:rPr lang="en-GB" altLang="en-US" dirty="0">
                <a:latin typeface="Arial" panose="020B0604020202020204" pitchFamily="34" charset="0"/>
                <a:cs typeface="Arial" panose="020B0604020202020204" pitchFamily="34" charset="0"/>
              </a:rPr>
              <a:t>Underweight	less than 18.5</a:t>
            </a:r>
          </a:p>
          <a:p>
            <a:pPr>
              <a:buFont typeface="Arial" charset="0"/>
              <a:buNone/>
            </a:pPr>
            <a:r>
              <a:rPr lang="en-GB" altLang="en-US" dirty="0">
                <a:latin typeface="Arial" panose="020B0604020202020204" pitchFamily="34" charset="0"/>
                <a:cs typeface="Arial" panose="020B0604020202020204" pitchFamily="34" charset="0"/>
              </a:rPr>
              <a:t>Normal		18.5 -  less than 25</a:t>
            </a:r>
          </a:p>
          <a:p>
            <a:pPr>
              <a:buFont typeface="Arial" charset="0"/>
              <a:buNone/>
            </a:pPr>
            <a:r>
              <a:rPr lang="en-GB" altLang="en-US" dirty="0">
                <a:latin typeface="Arial" panose="020B0604020202020204" pitchFamily="34" charset="0"/>
                <a:cs typeface="Arial" panose="020B0604020202020204" pitchFamily="34" charset="0"/>
              </a:rPr>
              <a:t>Overweight	25 - less than 30</a:t>
            </a:r>
          </a:p>
          <a:p>
            <a:pPr>
              <a:buFont typeface="Arial" charset="0"/>
              <a:buNone/>
            </a:pPr>
            <a:r>
              <a:rPr lang="en-GB" altLang="en-US" dirty="0">
                <a:latin typeface="Arial" panose="020B0604020202020204" pitchFamily="34" charset="0"/>
                <a:cs typeface="Arial" panose="020B0604020202020204" pitchFamily="34" charset="0"/>
              </a:rPr>
              <a:t>Obese		30 - 40</a:t>
            </a:r>
          </a:p>
          <a:p>
            <a:pPr>
              <a:buFont typeface="Arial" charset="0"/>
              <a:buNone/>
            </a:pPr>
            <a:r>
              <a:rPr lang="en-GB" altLang="en-US" dirty="0">
                <a:latin typeface="Arial" panose="020B0604020202020204" pitchFamily="34" charset="0"/>
                <a:cs typeface="Arial" panose="020B0604020202020204" pitchFamily="34" charset="0"/>
              </a:rPr>
              <a:t>Very obese	over 40</a:t>
            </a:r>
          </a:p>
          <a:p>
            <a:pPr>
              <a:buFont typeface="Arial" charset="0"/>
              <a:buNone/>
            </a:pPr>
            <a:endParaRPr lang="en-GB" alt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8692595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Obesity</a:t>
            </a:r>
          </a:p>
        </p:txBody>
      </p:sp>
      <p:sp>
        <p:nvSpPr>
          <p:cNvPr id="3" name="Subtitle 2"/>
          <p:cNvSpPr>
            <a:spLocks noGrp="1"/>
          </p:cNvSpPr>
          <p:nvPr>
            <p:ph type="subTitle" idx="1"/>
          </p:nvPr>
        </p:nvSpPr>
        <p:spPr/>
        <p:txBody>
          <a:bodyPr/>
          <a:lstStyle/>
          <a:p>
            <a:pPr marL="0" indent="0">
              <a:buNone/>
            </a:pPr>
            <a:r>
              <a:rPr lang="en-GB" sz="2000" dirty="0"/>
              <a:t>People who are obese are more likely to suffer from:  </a:t>
            </a:r>
          </a:p>
          <a:p>
            <a:pPr marL="0" indent="0">
              <a:buNone/>
            </a:pPr>
            <a:endParaRPr lang="en-GB" sz="2000" dirty="0"/>
          </a:p>
          <a:p>
            <a:pPr marL="0" indent="0">
              <a:buNone/>
            </a:pPr>
            <a:r>
              <a:rPr lang="en-GB" sz="2000" dirty="0"/>
              <a:t>• coronary heart disease;</a:t>
            </a:r>
          </a:p>
          <a:p>
            <a:pPr marL="0" indent="0">
              <a:buNone/>
            </a:pPr>
            <a:r>
              <a:rPr lang="en-GB" sz="2000" dirty="0"/>
              <a:t>• type 2 diabetes;</a:t>
            </a:r>
          </a:p>
          <a:p>
            <a:pPr marL="0" indent="0">
              <a:buNone/>
            </a:pPr>
            <a:r>
              <a:rPr lang="en-GB" sz="2000" dirty="0"/>
              <a:t>• gall stones;</a:t>
            </a:r>
          </a:p>
          <a:p>
            <a:pPr marL="0" indent="0">
              <a:buNone/>
            </a:pPr>
            <a:r>
              <a:rPr lang="en-GB" sz="2000" dirty="0"/>
              <a:t>• arthritis;</a:t>
            </a:r>
          </a:p>
          <a:p>
            <a:pPr marL="0" indent="0">
              <a:buNone/>
            </a:pPr>
            <a:r>
              <a:rPr lang="en-GB" sz="2000" dirty="0"/>
              <a:t>• high blood pressure;</a:t>
            </a:r>
          </a:p>
          <a:p>
            <a:pPr marL="0" indent="0">
              <a:buNone/>
            </a:pPr>
            <a:r>
              <a:rPr lang="en-GB" sz="2000" dirty="0"/>
              <a:t>• some types of cancers, i.e. colon, breast, kidney and stomach.</a:t>
            </a:r>
          </a:p>
          <a:p>
            <a:pPr marL="0" indent="0">
              <a:buNone/>
            </a:pPr>
            <a:endParaRPr lang="en-GB" dirty="0"/>
          </a:p>
        </p:txBody>
      </p:sp>
    </p:spTree>
    <p:extLst>
      <p:ext uri="{BB962C8B-B14F-4D97-AF65-F5344CB8AC3E}">
        <p14:creationId xmlns:p14="http://schemas.microsoft.com/office/powerpoint/2010/main" val="200406995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Bone health</a:t>
            </a:r>
          </a:p>
        </p:txBody>
      </p:sp>
      <p:sp>
        <p:nvSpPr>
          <p:cNvPr id="3" name="Subtitle 2"/>
          <p:cNvSpPr>
            <a:spLocks noGrp="1"/>
          </p:cNvSpPr>
          <p:nvPr>
            <p:ph type="subTitle" idx="1"/>
          </p:nvPr>
        </p:nvSpPr>
        <p:spPr>
          <a:xfrm>
            <a:off x="1169276" y="2571092"/>
            <a:ext cx="6312179" cy="3600000"/>
          </a:xfrm>
        </p:spPr>
        <p:txBody>
          <a:bodyPr/>
          <a:lstStyle/>
          <a:p>
            <a:pPr marL="0" indent="0">
              <a:buNone/>
            </a:pPr>
            <a:r>
              <a:rPr lang="en-GB" sz="2000" dirty="0"/>
              <a:t>Calcium is important for strong bones. Vitamin D is needed for calcium to be absorbed from food.</a:t>
            </a:r>
          </a:p>
          <a:p>
            <a:pPr marL="0" indent="0">
              <a:buNone/>
            </a:pPr>
            <a:r>
              <a:rPr lang="en-GB" sz="2000" dirty="0"/>
              <a:t>Osteoporosis is a disease where bones become weak, brittle and break easily. It is caused by severe losses of calcium.</a:t>
            </a:r>
          </a:p>
          <a:p>
            <a:pPr marL="0" indent="0">
              <a:buNone/>
            </a:pPr>
            <a:r>
              <a:rPr lang="en-GB" sz="2000" dirty="0"/>
              <a:t>During childhood, adolescence and early adulthood, calcium and other substances are added to the bone. This makes it stronger.	</a:t>
            </a:r>
          </a:p>
          <a:p>
            <a:pPr marL="0" indent="0">
              <a:buNone/>
            </a:pPr>
            <a:r>
              <a:rPr lang="en-GB" sz="2000" dirty="0"/>
              <a:t>After the age of 30-35, bone loss begins. After the menopause women lose bone at an increased rate.</a:t>
            </a:r>
          </a:p>
          <a:p>
            <a:pPr marL="0" indent="0">
              <a:buNone/>
            </a:pPr>
            <a:endParaRPr lang="en-GB" dirty="0"/>
          </a:p>
        </p:txBody>
      </p:sp>
      <p:pic>
        <p:nvPicPr>
          <p:cNvPr id="5" name="Picture 4" descr="Diagram&#10;&#10;Description automatically generated">
            <a:extLst>
              <a:ext uri="{FF2B5EF4-FFF2-40B4-BE49-F238E27FC236}">
                <a16:creationId xmlns:a16="http://schemas.microsoft.com/office/drawing/2014/main" id="{1ED316B2-6316-C098-6C7F-795980A95FF7}"/>
              </a:ext>
            </a:extLst>
          </p:cNvPr>
          <p:cNvPicPr>
            <a:picLocks noChangeAspect="1"/>
          </p:cNvPicPr>
          <p:nvPr/>
        </p:nvPicPr>
        <p:blipFill>
          <a:blip r:embed="rId2"/>
          <a:stretch>
            <a:fillRect/>
          </a:stretch>
        </p:blipFill>
        <p:spPr>
          <a:xfrm>
            <a:off x="8062713" y="2283798"/>
            <a:ext cx="3502092" cy="3275215"/>
          </a:xfrm>
          <a:prstGeom prst="rect">
            <a:avLst/>
          </a:prstGeom>
        </p:spPr>
      </p:pic>
    </p:spTree>
    <p:extLst>
      <p:ext uri="{BB962C8B-B14F-4D97-AF65-F5344CB8AC3E}">
        <p14:creationId xmlns:p14="http://schemas.microsoft.com/office/powerpoint/2010/main" val="2343560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Positive energy balance</a:t>
            </a:r>
            <a:br>
              <a:rPr lang="en-GB" dirty="0"/>
            </a:br>
            <a:endParaRPr lang="en-GB" dirty="0"/>
          </a:p>
        </p:txBody>
      </p:sp>
      <p:sp>
        <p:nvSpPr>
          <p:cNvPr id="3" name="Subtitle 2"/>
          <p:cNvSpPr>
            <a:spLocks noGrp="1"/>
          </p:cNvSpPr>
          <p:nvPr>
            <p:ph type="subTitle" idx="1"/>
          </p:nvPr>
        </p:nvSpPr>
        <p:spPr>
          <a:xfrm>
            <a:off x="1169276" y="2571092"/>
            <a:ext cx="7749093" cy="3600000"/>
          </a:xfrm>
        </p:spPr>
        <p:txBody>
          <a:bodyPr/>
          <a:lstStyle/>
          <a:p>
            <a:pPr marL="0" indent="0">
              <a:spcBef>
                <a:spcPct val="0"/>
              </a:spcBef>
              <a:buNone/>
            </a:pPr>
            <a:r>
              <a:rPr lang="en-GB" altLang="en-US" dirty="0">
                <a:latin typeface="Arial" panose="020B0604020202020204" pitchFamily="34" charset="0"/>
                <a:cs typeface="Arial" panose="020B0604020202020204" pitchFamily="34" charset="0"/>
              </a:rPr>
              <a:t>A person is said to be in positive energy balance when the diet provides more energy than is needed to meet energy demands of the body. Energy is stored as fat and the person puts on weight over time.</a:t>
            </a:r>
          </a:p>
          <a:p>
            <a:pPr marL="0" indent="0">
              <a:spcBef>
                <a:spcPct val="0"/>
              </a:spcBef>
              <a:buNone/>
            </a:pPr>
            <a:endParaRPr lang="en-GB" altLang="en-US" dirty="0">
              <a:latin typeface="Arial" panose="020B0604020202020204" pitchFamily="34" charset="0"/>
              <a:cs typeface="Arial" panose="020B0604020202020204" pitchFamily="34" charset="0"/>
            </a:endParaRPr>
          </a:p>
          <a:p>
            <a:pPr marL="0" indent="0">
              <a:spcBef>
                <a:spcPct val="0"/>
              </a:spcBef>
              <a:buNone/>
            </a:pPr>
            <a:r>
              <a:rPr lang="en-GB" altLang="en-US" dirty="0">
                <a:latin typeface="Arial" panose="020B0604020202020204" pitchFamily="34" charset="0"/>
                <a:cs typeface="Arial" panose="020B0604020202020204" pitchFamily="34" charset="0"/>
              </a:rPr>
              <a:t>People who achieve a positive energy balance over an extended period of time are likely to become overweight or obese. </a:t>
            </a:r>
          </a:p>
        </p:txBody>
      </p:sp>
      <p:grpSp>
        <p:nvGrpSpPr>
          <p:cNvPr id="4" name="Group 17"/>
          <p:cNvGrpSpPr>
            <a:grpSpLocks/>
          </p:cNvGrpSpPr>
          <p:nvPr/>
        </p:nvGrpSpPr>
        <p:grpSpPr bwMode="auto">
          <a:xfrm>
            <a:off x="5250094" y="4325420"/>
            <a:ext cx="6470987" cy="2044528"/>
            <a:chOff x="762717" y="3538502"/>
            <a:chExt cx="5915615" cy="2110525"/>
          </a:xfrm>
        </p:grpSpPr>
        <p:sp>
          <p:nvSpPr>
            <p:cNvPr id="5" name="Line 5"/>
            <p:cNvSpPr>
              <a:spLocks noChangeShapeType="1"/>
            </p:cNvSpPr>
            <p:nvPr/>
          </p:nvSpPr>
          <p:spPr bwMode="auto">
            <a:xfrm flipV="1">
              <a:off x="1704944" y="4000167"/>
              <a:ext cx="3694504" cy="1041416"/>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a:latin typeface="Arial" panose="020B0604020202020204" pitchFamily="34" charset="0"/>
                <a:cs typeface="Arial" panose="020B0604020202020204" pitchFamily="34" charset="0"/>
              </a:endParaRPr>
            </a:p>
          </p:txBody>
        </p:sp>
        <p:sp>
          <p:nvSpPr>
            <p:cNvPr id="6" name="Text Box 6"/>
            <p:cNvSpPr txBox="1">
              <a:spLocks noChangeArrowheads="1"/>
            </p:cNvSpPr>
            <p:nvPr/>
          </p:nvSpPr>
          <p:spPr bwMode="auto">
            <a:xfrm>
              <a:off x="762717" y="4520875"/>
              <a:ext cx="1332891" cy="476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50000"/>
                </a:spcBef>
              </a:pPr>
              <a:r>
                <a:rPr lang="en-GB" altLang="en-US" sz="1200" b="1" dirty="0"/>
                <a:t>Energy in: food and drinks</a:t>
              </a:r>
              <a:endParaRPr lang="en-US" altLang="en-US" sz="1200" b="1" dirty="0"/>
            </a:p>
          </p:txBody>
        </p:sp>
        <p:sp>
          <p:nvSpPr>
            <p:cNvPr id="7" name="Text Box 7"/>
            <p:cNvSpPr txBox="1">
              <a:spLocks noChangeArrowheads="1"/>
            </p:cNvSpPr>
            <p:nvPr/>
          </p:nvSpPr>
          <p:spPr bwMode="auto">
            <a:xfrm>
              <a:off x="5536435" y="3538502"/>
              <a:ext cx="1141897" cy="476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50000"/>
                </a:spcBef>
              </a:pPr>
              <a:r>
                <a:rPr lang="en-GB" altLang="en-US" sz="1200" b="1"/>
                <a:t>Energy out: activity </a:t>
              </a:r>
              <a:endParaRPr lang="en-US" altLang="en-US" sz="1200" b="1"/>
            </a:p>
          </p:txBody>
        </p:sp>
        <p:sp>
          <p:nvSpPr>
            <p:cNvPr id="8" name="AutoShape 8"/>
            <p:cNvSpPr>
              <a:spLocks noChangeArrowheads="1"/>
            </p:cNvSpPr>
            <p:nvPr/>
          </p:nvSpPr>
          <p:spPr bwMode="auto">
            <a:xfrm>
              <a:off x="3092153" y="4533158"/>
              <a:ext cx="1108573" cy="726855"/>
            </a:xfrm>
            <a:prstGeom prst="triangle">
              <a:avLst>
                <a:gd name="adj" fmla="val 50000"/>
              </a:avLst>
            </a:prstGeom>
            <a:solidFill>
              <a:srgbClr val="3399FF"/>
            </a:solidFill>
            <a:ln w="19050">
              <a:solidFill>
                <a:schemeClr val="tx1"/>
              </a:solidFill>
              <a:miter lim="800000"/>
              <a:headEnd/>
              <a:tailEnd/>
            </a:ln>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GB" altLang="en-US"/>
            </a:p>
          </p:txBody>
        </p:sp>
        <p:sp>
          <p:nvSpPr>
            <p:cNvPr id="9" name="Text Box 12"/>
            <p:cNvSpPr txBox="1">
              <a:spLocks noChangeArrowheads="1"/>
            </p:cNvSpPr>
            <p:nvPr/>
          </p:nvSpPr>
          <p:spPr bwMode="auto">
            <a:xfrm>
              <a:off x="1933413" y="5363087"/>
              <a:ext cx="3452310" cy="285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50000"/>
                </a:spcBef>
              </a:pPr>
              <a:r>
                <a:rPr lang="en-GB" altLang="en-US" sz="1200" b="1"/>
                <a:t>Energy in &gt; Energy out = Weight gain</a:t>
              </a:r>
              <a:endParaRPr lang="en-US" altLang="en-US" sz="1200" b="1"/>
            </a:p>
          </p:txBody>
        </p:sp>
      </p:grpSp>
    </p:spTree>
    <p:extLst>
      <p:ext uri="{BB962C8B-B14F-4D97-AF65-F5344CB8AC3E}">
        <p14:creationId xmlns:p14="http://schemas.microsoft.com/office/powerpoint/2010/main" val="278425051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Bone health</a:t>
            </a:r>
          </a:p>
        </p:txBody>
      </p:sp>
      <p:sp>
        <p:nvSpPr>
          <p:cNvPr id="3" name="Subtitle 2"/>
          <p:cNvSpPr>
            <a:spLocks noGrp="1"/>
          </p:cNvSpPr>
          <p:nvPr>
            <p:ph type="subTitle" idx="1"/>
          </p:nvPr>
        </p:nvSpPr>
        <p:spPr>
          <a:xfrm>
            <a:off x="1169276" y="2571092"/>
            <a:ext cx="8129103" cy="3600000"/>
          </a:xfrm>
        </p:spPr>
        <p:txBody>
          <a:bodyPr/>
          <a:lstStyle/>
          <a:p>
            <a:pPr marL="0" indent="0">
              <a:buNone/>
            </a:pPr>
            <a:r>
              <a:rPr lang="en-GB" sz="2000" dirty="0"/>
              <a:t>Strong bones contain plenty of calcium and their strength is affected by:</a:t>
            </a:r>
          </a:p>
          <a:p>
            <a:r>
              <a:rPr lang="en-GB" sz="2000" dirty="0"/>
              <a:t>genetics;</a:t>
            </a:r>
          </a:p>
          <a:p>
            <a:r>
              <a:rPr lang="en-GB" sz="2000" dirty="0"/>
              <a:t>sex;</a:t>
            </a:r>
          </a:p>
          <a:p>
            <a:r>
              <a:rPr lang="en-GB" sz="2000" dirty="0"/>
              <a:t>diet;</a:t>
            </a:r>
          </a:p>
          <a:p>
            <a:r>
              <a:rPr lang="en-GB" sz="2000" dirty="0"/>
              <a:t>exercise;</a:t>
            </a:r>
          </a:p>
          <a:p>
            <a:r>
              <a:rPr lang="en-GB" sz="2000" dirty="0"/>
              <a:t>body weight;</a:t>
            </a:r>
          </a:p>
          <a:p>
            <a:r>
              <a:rPr lang="en-GB" sz="2000" dirty="0"/>
              <a:t>hormones.</a:t>
            </a:r>
          </a:p>
          <a:p>
            <a:pPr marL="0" indent="0">
              <a:buNone/>
            </a:pPr>
            <a:endParaRPr lang="en-GB" sz="2000" dirty="0"/>
          </a:p>
          <a:p>
            <a:pPr marL="0" indent="0">
              <a:buNone/>
            </a:pPr>
            <a:r>
              <a:rPr lang="en-GB" sz="2000" dirty="0"/>
              <a:t>Consuming adequate amounts of calcium and vitamin D throughout life will help with bone health and strength.</a:t>
            </a:r>
          </a:p>
          <a:p>
            <a:pPr marL="0" indent="0">
              <a:buNone/>
            </a:pPr>
            <a:endParaRPr lang="en-GB" dirty="0"/>
          </a:p>
        </p:txBody>
      </p:sp>
    </p:spTree>
    <p:extLst>
      <p:ext uri="{BB962C8B-B14F-4D97-AF65-F5344CB8AC3E}">
        <p14:creationId xmlns:p14="http://schemas.microsoft.com/office/powerpoint/2010/main" val="407215704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Anaemia</a:t>
            </a:r>
          </a:p>
        </p:txBody>
      </p:sp>
      <p:sp>
        <p:nvSpPr>
          <p:cNvPr id="3" name="Subtitle 2"/>
          <p:cNvSpPr>
            <a:spLocks noGrp="1"/>
          </p:cNvSpPr>
          <p:nvPr>
            <p:ph type="subTitle" idx="1"/>
          </p:nvPr>
        </p:nvSpPr>
        <p:spPr>
          <a:xfrm>
            <a:off x="1169276" y="2571092"/>
            <a:ext cx="7119701" cy="3600000"/>
          </a:xfrm>
        </p:spPr>
        <p:txBody>
          <a:bodyPr/>
          <a:lstStyle/>
          <a:p>
            <a:pPr marL="0" indent="0">
              <a:buNone/>
            </a:pPr>
            <a:r>
              <a:rPr lang="en-GB" sz="2000" dirty="0"/>
              <a:t>The mineral iron is vital for making red blood cells. Iron from the diet forms haemoglobin, which carries oxygen in the blood.</a:t>
            </a:r>
          </a:p>
          <a:p>
            <a:pPr marL="0" indent="0">
              <a:buNone/>
            </a:pPr>
            <a:r>
              <a:rPr lang="en-GB" sz="2000" dirty="0"/>
              <a:t>	</a:t>
            </a:r>
          </a:p>
          <a:p>
            <a:pPr marL="0" indent="0">
              <a:buNone/>
            </a:pPr>
            <a:r>
              <a:rPr lang="en-GB" sz="2000" dirty="0"/>
              <a:t>If the body’s store of iron is low and there is too little iron in the diet, the symptoms of iron deficiency anaemia will start to develop. This is particularly common in young women who have higher iron requirements due to their menstrual cycle.</a:t>
            </a:r>
          </a:p>
          <a:p>
            <a:pPr marL="0" indent="0">
              <a:buNone/>
            </a:pPr>
            <a:endParaRPr lang="en-GB" sz="2000" dirty="0"/>
          </a:p>
          <a:p>
            <a:pPr marL="0" indent="0">
              <a:buNone/>
            </a:pPr>
            <a:r>
              <a:rPr lang="en-GB" sz="2000" dirty="0"/>
              <a:t>Iron from animal sources is generally more easily absorbed than iron from plant sources. Vitamin C increases absorption of iron from plant sources.</a:t>
            </a:r>
          </a:p>
          <a:p>
            <a:pPr marL="0" indent="0">
              <a:buNone/>
            </a:pPr>
            <a:endParaRPr lang="en-GB" dirty="0"/>
          </a:p>
        </p:txBody>
      </p:sp>
    </p:spTree>
    <p:extLst>
      <p:ext uri="{BB962C8B-B14F-4D97-AF65-F5344CB8AC3E}">
        <p14:creationId xmlns:p14="http://schemas.microsoft.com/office/powerpoint/2010/main" val="260196702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A84C499-0517-4887-96DB-81C9129ABB06}"/>
              </a:ext>
            </a:extLst>
          </p:cNvPr>
          <p:cNvGraphicFramePr>
            <a:graphicFrameLocks noChangeAspect="1"/>
          </p:cNvGraphicFramePr>
          <p:nvPr>
            <p:custDataLst>
              <p:tags r:id="rId1"/>
            </p:custDataLst>
            <p:extLst>
              <p:ext uri="{D42A27DB-BD31-4B8C-83A1-F6EECF244321}">
                <p14:modId xmlns:p14="http://schemas.microsoft.com/office/powerpoint/2010/main" val="3353096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5" name="Object 4" hidden="1">
                        <a:extLst>
                          <a:ext uri="{FF2B5EF4-FFF2-40B4-BE49-F238E27FC236}">
                            <a16:creationId xmlns:a16="http://schemas.microsoft.com/office/drawing/2014/main" id="{FA84C499-0517-4887-96DB-81C9129ABB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t>Unhealthy diets</a:t>
            </a:r>
            <a:endParaRPr lang="en-GB" dirty="0"/>
          </a:p>
        </p:txBody>
      </p:sp>
      <p:sp>
        <p:nvSpPr>
          <p:cNvPr id="3" name="Subtitle 2"/>
          <p:cNvSpPr>
            <a:spLocks noGrp="1"/>
          </p:cNvSpPr>
          <p:nvPr>
            <p:ph type="subTitle" idx="1"/>
          </p:nvPr>
        </p:nvSpPr>
        <p:spPr/>
        <p:txBody>
          <a:bodyPr/>
          <a:lstStyle/>
          <a:p>
            <a:pPr marL="0" indent="0" algn="ctr">
              <a:buNone/>
            </a:pPr>
            <a:r>
              <a:rPr lang="en-GB" sz="3600"/>
              <a:t>For further information, go to:</a:t>
            </a:r>
          </a:p>
          <a:p>
            <a:pPr marL="0" indent="0" algn="ctr">
              <a:buNone/>
            </a:pPr>
            <a:r>
              <a:rPr lang="en-GB" sz="3600"/>
              <a:t>www.foodafactoflife.org.uk</a:t>
            </a:r>
          </a:p>
        </p:txBody>
      </p:sp>
      <p:sp>
        <p:nvSpPr>
          <p:cNvPr id="4" name="TextBox 3">
            <a:extLst>
              <a:ext uri="{FF2B5EF4-FFF2-40B4-BE49-F238E27FC236}">
                <a16:creationId xmlns:a16="http://schemas.microsoft.com/office/drawing/2014/main" id="{88C3A9D8-F056-4907-ADD0-8B883B971968}"/>
              </a:ext>
            </a:extLst>
          </p:cNvPr>
          <p:cNvSpPr txBox="1"/>
          <p:nvPr/>
        </p:nvSpPr>
        <p:spPr>
          <a:xfrm>
            <a:off x="486577" y="6116351"/>
            <a:ext cx="9904396"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a:latin typeface="Arial" panose="020B0604020202020204" pitchFamily="34" charset="0"/>
                <a:cs typeface="Arial" panose="020B0604020202020204" pitchFamily="34" charset="0"/>
              </a:rPr>
              <a:t>This resource meets the</a:t>
            </a:r>
            <a:r>
              <a:rPr lang="en-GB" sz="1400" b="1">
                <a:latin typeface="Arial" panose="020B0604020202020204" pitchFamily="34" charset="0"/>
                <a:cs typeface="Arial" panose="020B0604020202020204" pitchFamily="34" charset="0"/>
              </a:rPr>
              <a:t> </a:t>
            </a:r>
            <a:r>
              <a:rPr lang="en-GB" sz="1400" b="1" i="1" u="sng">
                <a:latin typeface="Arial" panose="020B0604020202020204" pitchFamily="34" charset="0"/>
                <a:cs typeface="Arial" panose="020B0604020202020204" pitchFamily="34" charset="0"/>
                <a:hlinkClick r:id="rId5"/>
              </a:rPr>
              <a:t>Guidelines for producers and users of school education resources about food</a:t>
            </a:r>
            <a:r>
              <a:rPr lang="en-GB" sz="1400" b="1" i="1">
                <a:latin typeface="Arial" panose="020B0604020202020204" pitchFamily="34" charset="0"/>
                <a:cs typeface="Arial" panose="020B0604020202020204" pitchFamily="34" charset="0"/>
              </a:rPr>
              <a:t>.</a:t>
            </a:r>
            <a:endParaRPr lang="en-GB" sz="140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A8D9ECF5-A3E7-E856-40D1-C9168A126599}"/>
              </a:ext>
            </a:extLst>
          </p:cNvPr>
          <p:cNvSpPr txBox="1"/>
          <p:nvPr/>
        </p:nvSpPr>
        <p:spPr>
          <a:xfrm>
            <a:off x="762000" y="5125454"/>
            <a:ext cx="11538857" cy="307777"/>
          </a:xfrm>
          <a:prstGeom prst="rect">
            <a:avLst/>
          </a:prstGeom>
          <a:noFill/>
        </p:spPr>
        <p:txBody>
          <a:bodyPr wrap="square">
            <a:spAutoFit/>
          </a:bodyPr>
          <a:lstStyle/>
          <a:p>
            <a:r>
              <a:rPr lang="en-GB" sz="1400" dirty="0">
                <a:latin typeface="Arial" panose="020B0604020202020204" pitchFamily="34" charset="0"/>
                <a:cs typeface="Arial" panose="020B0604020202020204" pitchFamily="34" charset="0"/>
              </a:rPr>
              <a:t>This science pack is one of a series of resources produced for the </a:t>
            </a:r>
            <a:r>
              <a:rPr lang="en-GB" sz="1400" i="1" dirty="0" err="1">
                <a:latin typeface="Arial" panose="020B0604020202020204" pitchFamily="34" charset="0"/>
                <a:cs typeface="Arial" panose="020B0604020202020204" pitchFamily="34" charset="0"/>
              </a:rPr>
              <a:t>pHood</a:t>
            </a:r>
            <a:r>
              <a:rPr lang="en-GB" sz="1400" i="1" dirty="0">
                <a:latin typeface="Arial" panose="020B0604020202020204" pitchFamily="34" charset="0"/>
                <a:cs typeface="Arial" panose="020B0604020202020204" pitchFamily="34" charset="0"/>
              </a:rPr>
              <a:t> Futures </a:t>
            </a:r>
            <a:r>
              <a:rPr lang="en-GB" sz="1400" dirty="0">
                <a:latin typeface="Arial" panose="020B0604020202020204" pitchFamily="34" charset="0"/>
                <a:cs typeface="Arial" panose="020B0604020202020204" pitchFamily="34" charset="0"/>
              </a:rPr>
              <a:t>project, supported by the Royal Society of Chemistry.</a:t>
            </a:r>
          </a:p>
        </p:txBody>
      </p:sp>
    </p:spTree>
    <p:extLst>
      <p:ext uri="{BB962C8B-B14F-4D97-AF65-F5344CB8AC3E}">
        <p14:creationId xmlns:p14="http://schemas.microsoft.com/office/powerpoint/2010/main" val="23020051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Negative energy balance</a:t>
            </a:r>
            <a:br>
              <a:rPr lang="en-GB" dirty="0"/>
            </a:br>
            <a:endParaRPr lang="en-GB" dirty="0"/>
          </a:p>
        </p:txBody>
      </p:sp>
      <p:sp>
        <p:nvSpPr>
          <p:cNvPr id="3" name="Subtitle 2"/>
          <p:cNvSpPr>
            <a:spLocks noGrp="1"/>
          </p:cNvSpPr>
          <p:nvPr>
            <p:ph type="subTitle" idx="1"/>
          </p:nvPr>
        </p:nvSpPr>
        <p:spPr/>
        <p:txBody>
          <a:bodyPr/>
          <a:lstStyle/>
          <a:p>
            <a:pPr marL="0" indent="0">
              <a:buNone/>
            </a:pPr>
            <a:r>
              <a:rPr lang="en-GB" dirty="0"/>
              <a:t>A person is said to be in negative energy balance when there is insufficient energy from the diet to meet energy demands of the body. Energy is derived from energy stores and the person loses weight. </a:t>
            </a:r>
          </a:p>
          <a:p>
            <a:pPr marL="0" indent="0">
              <a:buNone/>
            </a:pPr>
            <a:r>
              <a:rPr lang="en-GB" dirty="0"/>
              <a:t>People who achieve a negative energy balance over an extended period of time are likely to become underweight. </a:t>
            </a:r>
          </a:p>
          <a:p>
            <a:pPr marL="0" indent="0">
              <a:buNone/>
            </a:pPr>
            <a:endParaRPr lang="en-GB" dirty="0"/>
          </a:p>
        </p:txBody>
      </p:sp>
      <p:grpSp>
        <p:nvGrpSpPr>
          <p:cNvPr id="4" name="Group 17"/>
          <p:cNvGrpSpPr>
            <a:grpSpLocks/>
          </p:cNvGrpSpPr>
          <p:nvPr/>
        </p:nvGrpSpPr>
        <p:grpSpPr bwMode="auto">
          <a:xfrm>
            <a:off x="4551452" y="4191856"/>
            <a:ext cx="7014065" cy="1982381"/>
            <a:chOff x="912709" y="3886827"/>
            <a:chExt cx="5767545" cy="1747583"/>
          </a:xfrm>
        </p:grpSpPr>
        <p:sp>
          <p:nvSpPr>
            <p:cNvPr id="5" name="Line 5"/>
            <p:cNvSpPr>
              <a:spLocks noChangeShapeType="1"/>
            </p:cNvSpPr>
            <p:nvPr/>
          </p:nvSpPr>
          <p:spPr bwMode="auto">
            <a:xfrm>
              <a:off x="1865830" y="4209992"/>
              <a:ext cx="3816546" cy="686594"/>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sz="2000">
                <a:latin typeface="Arial" panose="020B0604020202020204" pitchFamily="34" charset="0"/>
                <a:cs typeface="Arial" panose="020B0604020202020204" pitchFamily="34" charset="0"/>
              </a:endParaRPr>
            </a:p>
          </p:txBody>
        </p:sp>
        <p:sp>
          <p:nvSpPr>
            <p:cNvPr id="6" name="Text Box 6"/>
            <p:cNvSpPr txBox="1">
              <a:spLocks noChangeArrowheads="1"/>
            </p:cNvSpPr>
            <p:nvPr/>
          </p:nvSpPr>
          <p:spPr bwMode="auto">
            <a:xfrm>
              <a:off x="912709" y="3886827"/>
              <a:ext cx="1165392" cy="65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50000"/>
                </a:spcBef>
              </a:pPr>
              <a:r>
                <a:rPr lang="en-GB" altLang="en-US" sz="1400" b="1" dirty="0"/>
                <a:t>Energy in: food and drinks</a:t>
              </a:r>
              <a:endParaRPr lang="en-US" altLang="en-US" sz="1400" b="1" dirty="0"/>
            </a:p>
          </p:txBody>
        </p:sp>
        <p:sp>
          <p:nvSpPr>
            <p:cNvPr id="7" name="Text Box 7"/>
            <p:cNvSpPr txBox="1">
              <a:spLocks noChangeArrowheads="1"/>
            </p:cNvSpPr>
            <p:nvPr/>
          </p:nvSpPr>
          <p:spPr bwMode="auto">
            <a:xfrm>
              <a:off x="5538356" y="4901423"/>
              <a:ext cx="1141898" cy="461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50000"/>
                </a:spcBef>
              </a:pPr>
              <a:r>
                <a:rPr lang="en-GB" altLang="en-US" sz="1400" b="1"/>
                <a:t>Energy out: activity </a:t>
              </a:r>
              <a:endParaRPr lang="en-US" altLang="en-US" sz="1400" b="1"/>
            </a:p>
          </p:txBody>
        </p:sp>
        <p:sp>
          <p:nvSpPr>
            <p:cNvPr id="8" name="AutoShape 8"/>
            <p:cNvSpPr>
              <a:spLocks noChangeArrowheads="1"/>
            </p:cNvSpPr>
            <p:nvPr/>
          </p:nvSpPr>
          <p:spPr bwMode="auto">
            <a:xfrm>
              <a:off x="3092153" y="4612313"/>
              <a:ext cx="1108573" cy="726855"/>
            </a:xfrm>
            <a:prstGeom prst="triangle">
              <a:avLst>
                <a:gd name="adj" fmla="val 50000"/>
              </a:avLst>
            </a:prstGeom>
            <a:solidFill>
              <a:srgbClr val="3399FF"/>
            </a:solidFill>
            <a:ln w="19050">
              <a:solidFill>
                <a:schemeClr val="tx1"/>
              </a:solidFill>
              <a:miter lim="800000"/>
              <a:headEnd/>
              <a:tailEnd/>
            </a:ln>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GB" altLang="en-US" sz="2000"/>
            </a:p>
          </p:txBody>
        </p:sp>
        <p:sp>
          <p:nvSpPr>
            <p:cNvPr id="9" name="Text Box 12"/>
            <p:cNvSpPr txBox="1">
              <a:spLocks noChangeArrowheads="1"/>
            </p:cNvSpPr>
            <p:nvPr/>
          </p:nvSpPr>
          <p:spPr bwMode="auto">
            <a:xfrm>
              <a:off x="2078101" y="5363087"/>
              <a:ext cx="3307622" cy="271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50000"/>
                </a:spcBef>
              </a:pPr>
              <a:r>
                <a:rPr lang="en-GB" altLang="en-US" sz="1400" b="1" dirty="0"/>
                <a:t>Energy out &gt; Energy in = Weight loss</a:t>
              </a:r>
              <a:endParaRPr lang="en-US" altLang="en-US" sz="1400" b="1" dirty="0"/>
            </a:p>
          </p:txBody>
        </p:sp>
      </p:grpSp>
    </p:spTree>
    <p:extLst>
      <p:ext uri="{BB962C8B-B14F-4D97-AF65-F5344CB8AC3E}">
        <p14:creationId xmlns:p14="http://schemas.microsoft.com/office/powerpoint/2010/main" val="24604431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Energy balance</a:t>
            </a:r>
            <a:br>
              <a:rPr lang="en-GB" dirty="0"/>
            </a:br>
            <a:endParaRPr lang="en-GB" dirty="0"/>
          </a:p>
        </p:txBody>
      </p:sp>
      <p:sp>
        <p:nvSpPr>
          <p:cNvPr id="3" name="Subtitle 2"/>
          <p:cNvSpPr>
            <a:spLocks noGrp="1"/>
          </p:cNvSpPr>
          <p:nvPr>
            <p:ph type="subTitle" idx="1"/>
          </p:nvPr>
        </p:nvSpPr>
        <p:spPr/>
        <p:txBody>
          <a:bodyPr/>
          <a:lstStyle/>
          <a:p>
            <a:pPr marL="0" indent="0">
              <a:spcBef>
                <a:spcPct val="0"/>
              </a:spcBef>
              <a:buNone/>
            </a:pPr>
            <a:r>
              <a:rPr lang="en-GB" altLang="en-US" sz="2000" dirty="0">
                <a:latin typeface="Arial" panose="020B0604020202020204" pitchFamily="34" charset="0"/>
                <a:cs typeface="Arial" panose="020B0604020202020204" pitchFamily="34" charset="0"/>
              </a:rPr>
              <a:t>Energy balance can be maintained by:</a:t>
            </a:r>
          </a:p>
          <a:p>
            <a:pPr>
              <a:spcBef>
                <a:spcPct val="0"/>
              </a:spcBef>
            </a:pPr>
            <a:endParaRPr lang="en-GB" altLang="en-US" sz="2000" dirty="0">
              <a:latin typeface="Arial" panose="020B0604020202020204" pitchFamily="34" charset="0"/>
              <a:cs typeface="Arial" panose="020B0604020202020204" pitchFamily="34" charset="0"/>
            </a:endParaRPr>
          </a:p>
          <a:p>
            <a:pPr>
              <a:spcBef>
                <a:spcPct val="0"/>
              </a:spcBef>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 regulating energy intake through the diet; </a:t>
            </a:r>
          </a:p>
          <a:p>
            <a:pPr>
              <a:spcBef>
                <a:spcPct val="0"/>
              </a:spcBef>
            </a:pPr>
            <a:endParaRPr lang="en-GB" altLang="en-US" sz="2000" dirty="0">
              <a:latin typeface="Arial" panose="020B0604020202020204" pitchFamily="34" charset="0"/>
              <a:cs typeface="Arial" panose="020B0604020202020204" pitchFamily="34" charset="0"/>
            </a:endParaRPr>
          </a:p>
          <a:p>
            <a:pPr>
              <a:spcBef>
                <a:spcPct val="0"/>
              </a:spcBef>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 adjusting physical activity levels;</a:t>
            </a:r>
          </a:p>
          <a:p>
            <a:pPr>
              <a:spcBef>
                <a:spcPct val="0"/>
              </a:spcBef>
            </a:pPr>
            <a:endParaRPr lang="en-GB" altLang="en-US" sz="2000" dirty="0">
              <a:latin typeface="Arial" panose="020B0604020202020204" pitchFamily="34" charset="0"/>
              <a:cs typeface="Arial" panose="020B0604020202020204" pitchFamily="34" charset="0"/>
            </a:endParaRPr>
          </a:p>
          <a:p>
            <a:pPr>
              <a:spcBef>
                <a:spcPct val="0"/>
              </a:spcBef>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 a combination of both.</a:t>
            </a:r>
          </a:p>
          <a:p>
            <a:endParaRPr lang="en-GB" dirty="0"/>
          </a:p>
        </p:txBody>
      </p:sp>
    </p:spTree>
    <p:extLst>
      <p:ext uri="{BB962C8B-B14F-4D97-AF65-F5344CB8AC3E}">
        <p14:creationId xmlns:p14="http://schemas.microsoft.com/office/powerpoint/2010/main" val="5020104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9F38A-2811-8A0A-0903-F90C6CA9F351}"/>
              </a:ext>
            </a:extLst>
          </p:cNvPr>
          <p:cNvSpPr>
            <a:spLocks noGrp="1"/>
          </p:cNvSpPr>
          <p:nvPr>
            <p:ph type="ctrTitle"/>
          </p:nvPr>
        </p:nvSpPr>
        <p:spPr/>
        <p:txBody>
          <a:bodyPr/>
          <a:lstStyle/>
          <a:p>
            <a:r>
              <a:rPr lang="en-US" dirty="0">
                <a:latin typeface="Arial"/>
                <a:cs typeface="Arial"/>
              </a:rPr>
              <a:t>Fill in the gaps</a:t>
            </a:r>
            <a:endParaRPr lang="en-US" dirty="0"/>
          </a:p>
        </p:txBody>
      </p:sp>
      <p:sp>
        <p:nvSpPr>
          <p:cNvPr id="3" name="Rectangle 2">
            <a:extLst>
              <a:ext uri="{FF2B5EF4-FFF2-40B4-BE49-F238E27FC236}">
                <a16:creationId xmlns:a16="http://schemas.microsoft.com/office/drawing/2014/main" id="{7BD284BD-A6B6-E450-9864-294639781BA9}"/>
              </a:ext>
            </a:extLst>
          </p:cNvPr>
          <p:cNvSpPr/>
          <p:nvPr/>
        </p:nvSpPr>
        <p:spPr>
          <a:xfrm>
            <a:off x="1169274" y="2238078"/>
            <a:ext cx="8755904" cy="3785652"/>
          </a:xfrm>
          <a:prstGeom prst="rect">
            <a:avLst/>
          </a:prstGeom>
          <a:solidFill>
            <a:srgbClr val="FCE3C2"/>
          </a:solidFill>
          <a:ln>
            <a:solidFill>
              <a:schemeClr val="tx1"/>
            </a:solidFill>
          </a:ln>
        </p:spPr>
        <p:txBody>
          <a:bodyPr wrap="square">
            <a:spAutoFit/>
          </a:bodyPr>
          <a:lstStyle/>
          <a:p>
            <a:pPr marL="514350" indent="-514350">
              <a:buFont typeface="+mj-lt"/>
              <a:buAutoNum type="arabicPeriod"/>
            </a:pPr>
            <a:r>
              <a:rPr lang="en-GB" sz="2400" dirty="0">
                <a:latin typeface="Arial" panose="020B0604020202020204" pitchFamily="34" charset="0"/>
                <a:cs typeface="Arial" panose="020B0604020202020204" pitchFamily="34" charset="0"/>
              </a:rPr>
              <a:t>Risk factors are linked to an _______ rate of a disease. They can be aspects of a person’s lifestyle, ________ in the person’s body or the _____________.</a:t>
            </a:r>
          </a:p>
          <a:p>
            <a:pPr marL="514350" indent="-514350">
              <a:buFont typeface="+mj-lt"/>
              <a:buAutoNum type="arabicPeriod"/>
            </a:pPr>
            <a:endParaRPr lang="en-GB" sz="2400" dirty="0">
              <a:latin typeface="Arial" panose="020B0604020202020204" pitchFamily="34" charset="0"/>
              <a:cs typeface="Arial" panose="020B0604020202020204" pitchFamily="34" charset="0"/>
            </a:endParaRPr>
          </a:p>
          <a:p>
            <a:pPr marL="514350" indent="-514350">
              <a:buFont typeface="+mj-lt"/>
              <a:buAutoNum type="arabicPeriod"/>
            </a:pPr>
            <a:r>
              <a:rPr lang="en-GB" sz="2400" dirty="0">
                <a:latin typeface="Arial" panose="020B0604020202020204" pitchFamily="34" charset="0"/>
                <a:cs typeface="Arial" panose="020B0604020202020204" pitchFamily="34" charset="0"/>
              </a:rPr>
              <a:t>A ______ mechanism has been proven for some risk factors, but not in others.</a:t>
            </a:r>
          </a:p>
          <a:p>
            <a:pPr marL="514350" indent="-514350">
              <a:buFont typeface="+mj-lt"/>
              <a:buAutoNum type="arabicPeriod"/>
            </a:pPr>
            <a:endParaRPr lang="en-GB" sz="2400" dirty="0">
              <a:latin typeface="Arial" panose="020B0604020202020204" pitchFamily="34" charset="0"/>
              <a:cs typeface="Arial" panose="020B0604020202020204" pitchFamily="34" charset="0"/>
            </a:endParaRPr>
          </a:p>
          <a:p>
            <a:pPr marL="514350" indent="-514350">
              <a:buFont typeface="+mj-lt"/>
              <a:buAutoNum type="arabicPeriod"/>
            </a:pPr>
            <a:r>
              <a:rPr lang="en-GB" sz="2400" dirty="0">
                <a:latin typeface="Arial" panose="020B0604020202020204" pitchFamily="34" charset="0"/>
                <a:cs typeface="Arial" panose="020B0604020202020204" pitchFamily="34" charset="0"/>
              </a:rPr>
              <a:t>Your weight and the amount of _______ you take affects your ______ of developing various _________.</a:t>
            </a:r>
          </a:p>
          <a:p>
            <a:endParaRPr lang="en-GB" sz="2400" dirty="0">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2AC8F5E2-59C5-3C71-C02F-966BA7554B49}"/>
              </a:ext>
            </a:extLst>
          </p:cNvPr>
          <p:cNvSpPr/>
          <p:nvPr/>
        </p:nvSpPr>
        <p:spPr>
          <a:xfrm>
            <a:off x="5516210" y="2272412"/>
            <a:ext cx="1374448" cy="376976"/>
          </a:xfrm>
          <a:prstGeom prst="rect">
            <a:avLst/>
          </a:prstGeom>
          <a:solidFill>
            <a:srgbClr val="FCE3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dirty="0">
                <a:solidFill>
                  <a:schemeClr val="accent2"/>
                </a:solidFill>
                <a:latin typeface="Arial" panose="020B0604020202020204" pitchFamily="34" charset="0"/>
                <a:cs typeface="Arial" panose="020B0604020202020204" pitchFamily="34" charset="0"/>
              </a:rPr>
              <a:t>increased</a:t>
            </a:r>
          </a:p>
        </p:txBody>
      </p:sp>
      <p:sp>
        <p:nvSpPr>
          <p:cNvPr id="6" name="Rectangle 5">
            <a:extLst>
              <a:ext uri="{FF2B5EF4-FFF2-40B4-BE49-F238E27FC236}">
                <a16:creationId xmlns:a16="http://schemas.microsoft.com/office/drawing/2014/main" id="{D30D00A2-2C4E-C594-518F-191EE2A765D0}"/>
              </a:ext>
            </a:extLst>
          </p:cNvPr>
          <p:cNvSpPr/>
          <p:nvPr/>
        </p:nvSpPr>
        <p:spPr>
          <a:xfrm>
            <a:off x="7509553" y="2674923"/>
            <a:ext cx="1591259" cy="376977"/>
          </a:xfrm>
          <a:prstGeom prst="rect">
            <a:avLst/>
          </a:prstGeom>
          <a:solidFill>
            <a:srgbClr val="FCE3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dirty="0">
                <a:solidFill>
                  <a:schemeClr val="accent2"/>
                </a:solidFill>
                <a:latin typeface="Arial" panose="020B0604020202020204" pitchFamily="34" charset="0"/>
                <a:cs typeface="Arial" panose="020B0604020202020204" pitchFamily="34" charset="0"/>
              </a:rPr>
              <a:t>substances</a:t>
            </a:r>
          </a:p>
        </p:txBody>
      </p:sp>
      <p:sp>
        <p:nvSpPr>
          <p:cNvPr id="7" name="Rectangle 6">
            <a:extLst>
              <a:ext uri="{FF2B5EF4-FFF2-40B4-BE49-F238E27FC236}">
                <a16:creationId xmlns:a16="http://schemas.microsoft.com/office/drawing/2014/main" id="{5CF66D41-BAE4-99BC-B5E1-C517F6033D1F}"/>
              </a:ext>
            </a:extLst>
          </p:cNvPr>
          <p:cNvSpPr/>
          <p:nvPr/>
        </p:nvSpPr>
        <p:spPr>
          <a:xfrm>
            <a:off x="1975090" y="3770062"/>
            <a:ext cx="1177137" cy="360842"/>
          </a:xfrm>
          <a:prstGeom prst="rect">
            <a:avLst/>
          </a:prstGeom>
          <a:solidFill>
            <a:srgbClr val="FCE3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dirty="0">
                <a:solidFill>
                  <a:schemeClr val="accent2"/>
                </a:solidFill>
                <a:latin typeface="Arial" panose="020B0604020202020204" pitchFamily="34" charset="0"/>
                <a:cs typeface="Arial" panose="020B0604020202020204" pitchFamily="34" charset="0"/>
              </a:rPr>
              <a:t>causal </a:t>
            </a:r>
          </a:p>
        </p:txBody>
      </p:sp>
      <p:sp>
        <p:nvSpPr>
          <p:cNvPr id="8" name="Rectangle 7">
            <a:extLst>
              <a:ext uri="{FF2B5EF4-FFF2-40B4-BE49-F238E27FC236}">
                <a16:creationId xmlns:a16="http://schemas.microsoft.com/office/drawing/2014/main" id="{0E3BAB77-A92D-4ED5-37F1-B9E9F4161102}"/>
              </a:ext>
            </a:extLst>
          </p:cNvPr>
          <p:cNvSpPr/>
          <p:nvPr/>
        </p:nvSpPr>
        <p:spPr>
          <a:xfrm>
            <a:off x="5928459" y="4845194"/>
            <a:ext cx="1276435" cy="360843"/>
          </a:xfrm>
          <a:prstGeom prst="rect">
            <a:avLst/>
          </a:prstGeom>
          <a:solidFill>
            <a:srgbClr val="FCE3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dirty="0">
                <a:solidFill>
                  <a:schemeClr val="accent2"/>
                </a:solidFill>
                <a:latin typeface="Arial" panose="020B0604020202020204" pitchFamily="34" charset="0"/>
                <a:cs typeface="Arial" panose="020B0604020202020204" pitchFamily="34" charset="0"/>
              </a:rPr>
              <a:t>exercise </a:t>
            </a:r>
          </a:p>
        </p:txBody>
      </p:sp>
      <p:sp>
        <p:nvSpPr>
          <p:cNvPr id="9" name="Rectangle 8">
            <a:extLst>
              <a:ext uri="{FF2B5EF4-FFF2-40B4-BE49-F238E27FC236}">
                <a16:creationId xmlns:a16="http://schemas.microsoft.com/office/drawing/2014/main" id="{5EE56FB6-3308-8B6B-1179-0B24F6EF2C07}"/>
              </a:ext>
            </a:extLst>
          </p:cNvPr>
          <p:cNvSpPr/>
          <p:nvPr/>
        </p:nvSpPr>
        <p:spPr>
          <a:xfrm>
            <a:off x="2427822" y="5206038"/>
            <a:ext cx="1053212" cy="360842"/>
          </a:xfrm>
          <a:prstGeom prst="rect">
            <a:avLst/>
          </a:prstGeom>
          <a:solidFill>
            <a:srgbClr val="FCE3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dirty="0">
                <a:solidFill>
                  <a:schemeClr val="accent2"/>
                </a:solidFill>
                <a:latin typeface="Arial" panose="020B0604020202020204" pitchFamily="34" charset="0"/>
                <a:cs typeface="Arial" panose="020B0604020202020204" pitchFamily="34" charset="0"/>
              </a:rPr>
              <a:t>risk</a:t>
            </a:r>
          </a:p>
        </p:txBody>
      </p:sp>
      <p:sp>
        <p:nvSpPr>
          <p:cNvPr id="10" name="Rectangle 9">
            <a:extLst>
              <a:ext uri="{FF2B5EF4-FFF2-40B4-BE49-F238E27FC236}">
                <a16:creationId xmlns:a16="http://schemas.microsoft.com/office/drawing/2014/main" id="{EACE853F-70DA-904B-8A74-4A516F6A0863}"/>
              </a:ext>
            </a:extLst>
          </p:cNvPr>
          <p:cNvSpPr/>
          <p:nvPr/>
        </p:nvSpPr>
        <p:spPr>
          <a:xfrm>
            <a:off x="5069938" y="3029033"/>
            <a:ext cx="2264456" cy="379645"/>
          </a:xfrm>
          <a:prstGeom prst="rect">
            <a:avLst/>
          </a:prstGeom>
          <a:solidFill>
            <a:srgbClr val="FCE3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dirty="0">
                <a:solidFill>
                  <a:schemeClr val="accent2"/>
                </a:solidFill>
                <a:latin typeface="Arial" panose="020B0604020202020204" pitchFamily="34" charset="0"/>
                <a:cs typeface="Arial" panose="020B0604020202020204" pitchFamily="34" charset="0"/>
              </a:rPr>
              <a:t>environment</a:t>
            </a:r>
          </a:p>
        </p:txBody>
      </p:sp>
      <p:sp>
        <p:nvSpPr>
          <p:cNvPr id="11" name="Rectangle 10">
            <a:extLst>
              <a:ext uri="{FF2B5EF4-FFF2-40B4-BE49-F238E27FC236}">
                <a16:creationId xmlns:a16="http://schemas.microsoft.com/office/drawing/2014/main" id="{F31C64B7-0E18-3A85-6CAB-6B357D7ACA99}"/>
              </a:ext>
            </a:extLst>
          </p:cNvPr>
          <p:cNvSpPr/>
          <p:nvPr/>
        </p:nvSpPr>
        <p:spPr>
          <a:xfrm>
            <a:off x="6488279" y="5206037"/>
            <a:ext cx="1591259" cy="360843"/>
          </a:xfrm>
          <a:prstGeom prst="rect">
            <a:avLst/>
          </a:prstGeom>
          <a:solidFill>
            <a:srgbClr val="FCE3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dirty="0">
                <a:solidFill>
                  <a:schemeClr val="accent2"/>
                </a:solidFill>
                <a:latin typeface="Arial" panose="020B0604020202020204" pitchFamily="34" charset="0"/>
                <a:cs typeface="Arial" panose="020B0604020202020204" pitchFamily="34" charset="0"/>
              </a:rPr>
              <a:t>diseases </a:t>
            </a:r>
          </a:p>
        </p:txBody>
      </p:sp>
    </p:spTree>
    <p:extLst>
      <p:ext uri="{BB962C8B-B14F-4D97-AF65-F5344CB8AC3E}">
        <p14:creationId xmlns:p14="http://schemas.microsoft.com/office/powerpoint/2010/main" val="10934561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1000"/>
                                        <p:tgtEl>
                                          <p:spTgt spid="10"/>
                                        </p:tgtEl>
                                      </p:cBhvr>
                                    </p:animEffect>
                                    <p:anim calcmode="lin" valueType="num">
                                      <p:cBhvr>
                                        <p:cTn id="20" dur="1000" fill="hold"/>
                                        <p:tgtEl>
                                          <p:spTgt spid="10"/>
                                        </p:tgtEl>
                                        <p:attrNameLst>
                                          <p:attrName>ppt_x</p:attrName>
                                        </p:attrNameLst>
                                      </p:cBhvr>
                                      <p:tavLst>
                                        <p:tav tm="0">
                                          <p:val>
                                            <p:strVal val="#ppt_x"/>
                                          </p:val>
                                        </p:tav>
                                        <p:tav tm="100000">
                                          <p:val>
                                            <p:strVal val="#ppt_x"/>
                                          </p:val>
                                        </p:tav>
                                      </p:tavLst>
                                    </p:anim>
                                    <p:anim calcmode="lin" valueType="num">
                                      <p:cBhvr>
                                        <p:cTn id="21"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grpId="0" nodeType="click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1000"/>
                                        <p:tgtEl>
                                          <p:spTgt spid="7"/>
                                        </p:tgtEl>
                                      </p:cBhvr>
                                    </p:animEffect>
                                    <p:anim calcmode="lin" valueType="num">
                                      <p:cBhvr>
                                        <p:cTn id="27" dur="1000" fill="hold"/>
                                        <p:tgtEl>
                                          <p:spTgt spid="7"/>
                                        </p:tgtEl>
                                        <p:attrNameLst>
                                          <p:attrName>ppt_x</p:attrName>
                                        </p:attrNameLst>
                                      </p:cBhvr>
                                      <p:tavLst>
                                        <p:tav tm="0">
                                          <p:val>
                                            <p:strVal val="#ppt_x"/>
                                          </p:val>
                                        </p:tav>
                                        <p:tav tm="100000">
                                          <p:val>
                                            <p:strVal val="#ppt_x"/>
                                          </p:val>
                                        </p:tav>
                                      </p:tavLst>
                                    </p:anim>
                                    <p:anim calcmode="lin" valueType="num">
                                      <p:cBhvr>
                                        <p:cTn id="28"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grpId="0" nodeType="click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fade">
                                      <p:cBhvr>
                                        <p:cTn id="33" dur="1000"/>
                                        <p:tgtEl>
                                          <p:spTgt spid="8"/>
                                        </p:tgtEl>
                                      </p:cBhvr>
                                    </p:animEffect>
                                    <p:anim calcmode="lin" valueType="num">
                                      <p:cBhvr>
                                        <p:cTn id="34" dur="1000" fill="hold"/>
                                        <p:tgtEl>
                                          <p:spTgt spid="8"/>
                                        </p:tgtEl>
                                        <p:attrNameLst>
                                          <p:attrName>ppt_x</p:attrName>
                                        </p:attrNameLst>
                                      </p:cBhvr>
                                      <p:tavLst>
                                        <p:tav tm="0">
                                          <p:val>
                                            <p:strVal val="#ppt_x"/>
                                          </p:val>
                                        </p:tav>
                                        <p:tav tm="100000">
                                          <p:val>
                                            <p:strVal val="#ppt_x"/>
                                          </p:val>
                                        </p:tav>
                                      </p:tavLst>
                                    </p:anim>
                                    <p:anim calcmode="lin" valueType="num">
                                      <p:cBhvr>
                                        <p:cTn id="35"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grpId="0" nodeType="clickEffect">
                                  <p:stCondLst>
                                    <p:cond delay="0"/>
                                  </p:stCondLst>
                                  <p:childTnLst>
                                    <p:set>
                                      <p:cBhvr>
                                        <p:cTn id="39" dur="1" fill="hold">
                                          <p:stCondLst>
                                            <p:cond delay="0"/>
                                          </p:stCondLst>
                                        </p:cTn>
                                        <p:tgtEl>
                                          <p:spTgt spid="9"/>
                                        </p:tgtEl>
                                        <p:attrNameLst>
                                          <p:attrName>style.visibility</p:attrName>
                                        </p:attrNameLst>
                                      </p:cBhvr>
                                      <p:to>
                                        <p:strVal val="visible"/>
                                      </p:to>
                                    </p:set>
                                    <p:animEffect transition="in" filter="fade">
                                      <p:cBhvr>
                                        <p:cTn id="40" dur="1000"/>
                                        <p:tgtEl>
                                          <p:spTgt spid="9"/>
                                        </p:tgtEl>
                                      </p:cBhvr>
                                    </p:animEffect>
                                    <p:anim calcmode="lin" valueType="num">
                                      <p:cBhvr>
                                        <p:cTn id="41" dur="1000" fill="hold"/>
                                        <p:tgtEl>
                                          <p:spTgt spid="9"/>
                                        </p:tgtEl>
                                        <p:attrNameLst>
                                          <p:attrName>ppt_x</p:attrName>
                                        </p:attrNameLst>
                                      </p:cBhvr>
                                      <p:tavLst>
                                        <p:tav tm="0">
                                          <p:val>
                                            <p:strVal val="#ppt_x"/>
                                          </p:val>
                                        </p:tav>
                                        <p:tav tm="100000">
                                          <p:val>
                                            <p:strVal val="#ppt_x"/>
                                          </p:val>
                                        </p:tav>
                                      </p:tavLst>
                                    </p:anim>
                                    <p:anim calcmode="lin" valueType="num">
                                      <p:cBhvr>
                                        <p:cTn id="42"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42" presetClass="entr" presetSubtype="0" fill="hold" grpId="0" nodeType="clickEffect">
                                  <p:stCondLst>
                                    <p:cond delay="0"/>
                                  </p:stCondLst>
                                  <p:childTnLst>
                                    <p:set>
                                      <p:cBhvr>
                                        <p:cTn id="46" dur="1" fill="hold">
                                          <p:stCondLst>
                                            <p:cond delay="0"/>
                                          </p:stCondLst>
                                        </p:cTn>
                                        <p:tgtEl>
                                          <p:spTgt spid="11"/>
                                        </p:tgtEl>
                                        <p:attrNameLst>
                                          <p:attrName>style.visibility</p:attrName>
                                        </p:attrNameLst>
                                      </p:cBhvr>
                                      <p:to>
                                        <p:strVal val="visible"/>
                                      </p:to>
                                    </p:set>
                                    <p:animEffect transition="in" filter="fade">
                                      <p:cBhvr>
                                        <p:cTn id="47" dur="1000"/>
                                        <p:tgtEl>
                                          <p:spTgt spid="11"/>
                                        </p:tgtEl>
                                      </p:cBhvr>
                                    </p:animEffect>
                                    <p:anim calcmode="lin" valueType="num">
                                      <p:cBhvr>
                                        <p:cTn id="48" dur="1000" fill="hold"/>
                                        <p:tgtEl>
                                          <p:spTgt spid="11"/>
                                        </p:tgtEl>
                                        <p:attrNameLst>
                                          <p:attrName>ppt_x</p:attrName>
                                        </p:attrNameLst>
                                      </p:cBhvr>
                                      <p:tavLst>
                                        <p:tav tm="0">
                                          <p:val>
                                            <p:strVal val="#ppt_x"/>
                                          </p:val>
                                        </p:tav>
                                        <p:tav tm="100000">
                                          <p:val>
                                            <p:strVal val="#ppt_x"/>
                                          </p:val>
                                        </p:tav>
                                      </p:tavLst>
                                    </p:anim>
                                    <p:anim calcmode="lin" valueType="num">
                                      <p:cBhvr>
                                        <p:cTn id="49"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Energy and nutrients</a:t>
            </a:r>
          </a:p>
        </p:txBody>
      </p:sp>
      <p:sp>
        <p:nvSpPr>
          <p:cNvPr id="3" name="Subtitle 2"/>
          <p:cNvSpPr>
            <a:spLocks noGrp="1"/>
          </p:cNvSpPr>
          <p:nvPr>
            <p:ph type="subTitle" idx="1"/>
          </p:nvPr>
        </p:nvSpPr>
        <p:spPr/>
        <p:txBody>
          <a:bodyPr/>
          <a:lstStyle/>
          <a:p>
            <a:pPr marL="0" indent="0">
              <a:spcBef>
                <a:spcPct val="0"/>
              </a:spcBef>
              <a:buNone/>
            </a:pPr>
            <a:r>
              <a:rPr lang="en-GB" altLang="en-US" sz="2000" dirty="0">
                <a:latin typeface="Arial" panose="020B0604020202020204" pitchFamily="34" charset="0"/>
                <a:cs typeface="Arial" panose="020B0604020202020204" pitchFamily="34" charset="0"/>
              </a:rPr>
              <a:t>It is not just important to balance our energy intake. It is also important to make sure we have the right amount of nutrients.</a:t>
            </a:r>
          </a:p>
          <a:p>
            <a:pPr marL="0" indent="0">
              <a:buNone/>
            </a:pPr>
            <a:endParaRPr lang="en-GB" dirty="0"/>
          </a:p>
          <a:p>
            <a:pPr marL="0" indent="0">
              <a:spcBef>
                <a:spcPct val="0"/>
              </a:spcBef>
              <a:buNone/>
            </a:pPr>
            <a:r>
              <a:rPr lang="en-GB" altLang="en-US" sz="2000" dirty="0">
                <a:latin typeface="Arial" panose="020B0604020202020204" pitchFamily="34" charset="0"/>
                <a:cs typeface="Arial" panose="020B0604020202020204" pitchFamily="34" charset="0"/>
              </a:rPr>
              <a:t>Food is eaten and digested in the body to allow the absorption of energy and nutrients.</a:t>
            </a:r>
          </a:p>
          <a:p>
            <a:pPr marL="0" indent="0">
              <a:spcBef>
                <a:spcPct val="0"/>
              </a:spcBef>
              <a:buNone/>
            </a:pPr>
            <a:endParaRPr lang="en-GB" altLang="en-US" sz="2000" dirty="0">
              <a:latin typeface="Arial" panose="020B0604020202020204" pitchFamily="34" charset="0"/>
              <a:cs typeface="Arial" panose="020B0604020202020204" pitchFamily="34" charset="0"/>
            </a:endParaRPr>
          </a:p>
          <a:p>
            <a:pPr marL="0" indent="0">
              <a:spcBef>
                <a:spcPct val="0"/>
              </a:spcBef>
              <a:buNone/>
            </a:pPr>
            <a:r>
              <a:rPr lang="en-GB" altLang="en-US" sz="2000" dirty="0">
                <a:latin typeface="Arial" panose="020B0604020202020204" pitchFamily="34" charset="0"/>
                <a:cs typeface="Arial" panose="020B0604020202020204" pitchFamily="34" charset="0"/>
              </a:rPr>
              <a:t>There are two different types of nutrients:</a:t>
            </a:r>
          </a:p>
          <a:p>
            <a:pPr>
              <a:spcBef>
                <a:spcPct val="0"/>
              </a:spcBef>
            </a:pPr>
            <a:r>
              <a:rPr lang="en-GB" altLang="en-US" dirty="0">
                <a:latin typeface="Arial" panose="020B0604020202020204" pitchFamily="34" charset="0"/>
                <a:cs typeface="Arial" panose="020B0604020202020204" pitchFamily="34" charset="0"/>
              </a:rPr>
              <a:t>m</a:t>
            </a:r>
            <a:r>
              <a:rPr lang="en-GB" altLang="en-US" sz="2000" dirty="0">
                <a:latin typeface="Arial" panose="020B0604020202020204" pitchFamily="34" charset="0"/>
                <a:cs typeface="Arial" panose="020B0604020202020204" pitchFamily="34" charset="0"/>
              </a:rPr>
              <a:t>acronutrients (carbohydrate, protein, fat);</a:t>
            </a:r>
          </a:p>
          <a:p>
            <a:pPr>
              <a:spcBef>
                <a:spcPct val="0"/>
              </a:spcBef>
            </a:pPr>
            <a:r>
              <a:rPr lang="en-GB" altLang="en-US" dirty="0">
                <a:latin typeface="Arial" panose="020B0604020202020204" pitchFamily="34" charset="0"/>
                <a:cs typeface="Arial" panose="020B0604020202020204" pitchFamily="34" charset="0"/>
              </a:rPr>
              <a:t>m</a:t>
            </a:r>
            <a:r>
              <a:rPr lang="en-GB" altLang="en-US" sz="2000" dirty="0">
                <a:latin typeface="Arial" panose="020B0604020202020204" pitchFamily="34" charset="0"/>
                <a:cs typeface="Arial" panose="020B0604020202020204" pitchFamily="34" charset="0"/>
              </a:rPr>
              <a:t>icronutrients (vitamins and minerals).</a:t>
            </a:r>
            <a:endParaRPr lang="en-GB" dirty="0"/>
          </a:p>
        </p:txBody>
      </p:sp>
    </p:spTree>
    <p:extLst>
      <p:ext uri="{BB962C8B-B14F-4D97-AF65-F5344CB8AC3E}">
        <p14:creationId xmlns:p14="http://schemas.microsoft.com/office/powerpoint/2010/main" val="42842920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altLang="en-US" dirty="0">
                <a:latin typeface="Arial" panose="020B0604020202020204" pitchFamily="34" charset="0"/>
                <a:cs typeface="Arial" panose="020B0604020202020204" pitchFamily="34" charset="0"/>
              </a:rPr>
              <a:t>Undernutrition</a:t>
            </a:r>
          </a:p>
        </p:txBody>
      </p:sp>
      <p:sp>
        <p:nvSpPr>
          <p:cNvPr id="3" name="Subtitle 2"/>
          <p:cNvSpPr>
            <a:spLocks noGrp="1"/>
          </p:cNvSpPr>
          <p:nvPr>
            <p:ph type="subTitle" idx="1"/>
          </p:nvPr>
        </p:nvSpPr>
        <p:spPr>
          <a:xfrm>
            <a:off x="1169277" y="2571092"/>
            <a:ext cx="5206586" cy="3600000"/>
          </a:xfrm>
        </p:spPr>
        <p:txBody>
          <a:bodyPr/>
          <a:lstStyle/>
          <a:p>
            <a:pPr marL="0" indent="0">
              <a:spcBef>
                <a:spcPct val="0"/>
              </a:spcBef>
              <a:buNone/>
            </a:pPr>
            <a:r>
              <a:rPr lang="en-GB" altLang="en-US" sz="2000" dirty="0">
                <a:latin typeface="Arial" panose="020B0604020202020204" pitchFamily="34" charset="0"/>
                <a:cs typeface="Arial" panose="020B0604020202020204" pitchFamily="34" charset="0"/>
              </a:rPr>
              <a:t>If the energy in the food you eat is less energy than you use in the day, you will lose body mass. </a:t>
            </a:r>
          </a:p>
          <a:p>
            <a:pPr marL="0" indent="0">
              <a:spcBef>
                <a:spcPct val="0"/>
              </a:spcBef>
              <a:buNone/>
            </a:pPr>
            <a:endParaRPr lang="en-GB" altLang="en-US" sz="2000" dirty="0">
              <a:latin typeface="Arial" panose="020B0604020202020204" pitchFamily="34" charset="0"/>
              <a:cs typeface="Arial" panose="020B0604020202020204" pitchFamily="34" charset="0"/>
            </a:endParaRPr>
          </a:p>
          <a:p>
            <a:pPr marL="0" indent="0">
              <a:spcBef>
                <a:spcPct val="0"/>
              </a:spcBef>
              <a:buNone/>
            </a:pPr>
            <a:r>
              <a:rPr lang="en-GB" altLang="en-US" sz="2000" dirty="0">
                <a:latin typeface="Arial" panose="020B0604020202020204" pitchFamily="34" charset="0"/>
                <a:cs typeface="Arial" panose="020B0604020202020204" pitchFamily="34" charset="0"/>
              </a:rPr>
              <a:t>You can become underweight and in extreme cases, this is known as starvation. </a:t>
            </a:r>
          </a:p>
          <a:p>
            <a:pPr marL="0" indent="0">
              <a:spcBef>
                <a:spcPct val="0"/>
              </a:spcBef>
              <a:buNone/>
            </a:pPr>
            <a:endParaRPr lang="en-GB" altLang="en-US" sz="2000" dirty="0">
              <a:latin typeface="Arial" panose="020B0604020202020204" pitchFamily="34" charset="0"/>
              <a:cs typeface="Arial" panose="020B0604020202020204" pitchFamily="34" charset="0"/>
            </a:endParaRPr>
          </a:p>
          <a:p>
            <a:pPr marL="0" indent="0">
              <a:spcBef>
                <a:spcPct val="0"/>
              </a:spcBef>
              <a:buNone/>
            </a:pPr>
            <a:r>
              <a:rPr lang="en-GB" altLang="en-US" sz="2000" dirty="0">
                <a:latin typeface="Arial" panose="020B0604020202020204" pitchFamily="34" charset="0"/>
                <a:cs typeface="Arial" panose="020B0604020202020204" pitchFamily="34" charset="0"/>
              </a:rPr>
              <a:t>Underweight people often suffer from: </a:t>
            </a:r>
          </a:p>
          <a:p>
            <a:pPr>
              <a:spcBef>
                <a:spcPct val="0"/>
              </a:spcBef>
            </a:pPr>
            <a:r>
              <a:rPr lang="en-GB" altLang="en-US" dirty="0">
                <a:latin typeface="Arial" panose="020B0604020202020204" pitchFamily="34" charset="0"/>
                <a:cs typeface="Arial" panose="020B0604020202020204" pitchFamily="34" charset="0"/>
              </a:rPr>
              <a:t>p</a:t>
            </a:r>
            <a:r>
              <a:rPr lang="en-GB" altLang="en-US" sz="2000" dirty="0">
                <a:latin typeface="Arial" panose="020B0604020202020204" pitchFamily="34" charset="0"/>
                <a:cs typeface="Arial" panose="020B0604020202020204" pitchFamily="34" charset="0"/>
              </a:rPr>
              <a:t>oor immune system and other health problems; </a:t>
            </a:r>
          </a:p>
          <a:p>
            <a:pPr>
              <a:spcBef>
                <a:spcPct val="0"/>
              </a:spcBef>
            </a:pPr>
            <a:r>
              <a:rPr lang="en-GB" altLang="en-US" dirty="0">
                <a:latin typeface="Arial" panose="020B0604020202020204" pitchFamily="34" charset="0"/>
                <a:cs typeface="Arial" panose="020B0604020202020204" pitchFamily="34" charset="0"/>
              </a:rPr>
              <a:t>l</a:t>
            </a:r>
            <a:r>
              <a:rPr lang="en-GB" altLang="en-US" sz="2000" dirty="0">
                <a:latin typeface="Arial" panose="020B0604020202020204" pitchFamily="34" charset="0"/>
                <a:cs typeface="Arial" panose="020B0604020202020204" pitchFamily="34" charset="0"/>
              </a:rPr>
              <a:t>ack of energy, often tired;</a:t>
            </a:r>
          </a:p>
          <a:p>
            <a:pPr>
              <a:spcBef>
                <a:spcPct val="0"/>
              </a:spcBef>
            </a:pPr>
            <a:r>
              <a:rPr lang="en-GB" altLang="en-US" dirty="0">
                <a:latin typeface="Arial" panose="020B0604020202020204" pitchFamily="34" charset="0"/>
                <a:cs typeface="Arial" panose="020B0604020202020204" pitchFamily="34" charset="0"/>
              </a:rPr>
              <a:t>l</a:t>
            </a:r>
            <a:r>
              <a:rPr lang="en-GB" altLang="en-US" sz="2000" dirty="0">
                <a:latin typeface="Arial" panose="020B0604020202020204" pitchFamily="34" charset="0"/>
                <a:cs typeface="Arial" panose="020B0604020202020204" pitchFamily="34" charset="0"/>
              </a:rPr>
              <a:t>ack of vitamins and minerals.</a:t>
            </a:r>
          </a:p>
          <a:p>
            <a:pPr marL="0" indent="0">
              <a:buNone/>
            </a:pPr>
            <a:endParaRPr lang="en-GB" dirty="0"/>
          </a:p>
        </p:txBody>
      </p:sp>
      <p:pic>
        <p:nvPicPr>
          <p:cNvPr id="5" name="Picture 4" descr="A picture containing text, silhouette&#10;&#10;Description automatically generated">
            <a:extLst>
              <a:ext uri="{FF2B5EF4-FFF2-40B4-BE49-F238E27FC236}">
                <a16:creationId xmlns:a16="http://schemas.microsoft.com/office/drawing/2014/main" id="{16387038-D368-A9B1-72AE-56582771F4C0}"/>
              </a:ext>
            </a:extLst>
          </p:cNvPr>
          <p:cNvPicPr>
            <a:picLocks noChangeAspect="1"/>
          </p:cNvPicPr>
          <p:nvPr/>
        </p:nvPicPr>
        <p:blipFill>
          <a:blip r:embed="rId2"/>
          <a:stretch>
            <a:fillRect/>
          </a:stretch>
        </p:blipFill>
        <p:spPr>
          <a:xfrm>
            <a:off x="6935487" y="2319250"/>
            <a:ext cx="4977760" cy="3272305"/>
          </a:xfrm>
          <a:prstGeom prst="rect">
            <a:avLst/>
          </a:prstGeom>
        </p:spPr>
      </p:pic>
    </p:spTree>
    <p:extLst>
      <p:ext uri="{BB962C8B-B14F-4D97-AF65-F5344CB8AC3E}">
        <p14:creationId xmlns:p14="http://schemas.microsoft.com/office/powerpoint/2010/main" val="31868977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ediaLengthInSeconds xmlns="c53071f4-7f44-43fd-895c-8e7b6a3746b0" xsi:nil="true"/>
    <_Flow_SignoffStatus xmlns="c53071f4-7f44-43fd-895c-8e7b6a3746b0" xsi:nil="true"/>
    <SharedWithUsers xmlns="ead97cfe-a968-427f-b02b-893e6ba0355a">
      <UserInfo>
        <DisplayName/>
        <AccountId xsi:nil="true"/>
        <AccountType/>
      </UserInfo>
    </SharedWithUsers>
    <TaxCatchAll xmlns="ead97cfe-a968-427f-b02b-893e6ba0355a" xsi:nil="true"/>
    <lcf76f155ced4ddcb4097134ff3c332f xmlns="c53071f4-7f44-43fd-895c-8e7b6a3746b0">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D5B78CA333243439763E4169A5FEB7F" ma:contentTypeVersion="17" ma:contentTypeDescription="Create a new document." ma:contentTypeScope="" ma:versionID="f2c597ebce0aa0fd5759700e14dd3adc">
  <xsd:schema xmlns:xsd="http://www.w3.org/2001/XMLSchema" xmlns:xs="http://www.w3.org/2001/XMLSchema" xmlns:p="http://schemas.microsoft.com/office/2006/metadata/properties" xmlns:ns2="c53071f4-7f44-43fd-895c-8e7b6a3746b0" xmlns:ns3="ead97cfe-a968-427f-b02b-893e6ba0355a" targetNamespace="http://schemas.microsoft.com/office/2006/metadata/properties" ma:root="true" ma:fieldsID="27039d98634059a90188b6cb8bc5e987" ns2:_="" ns3:_="">
    <xsd:import namespace="c53071f4-7f44-43fd-895c-8e7b6a3746b0"/>
    <xsd:import namespace="ead97cfe-a968-427f-b02b-893e6ba0355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LengthInSeconds" minOccurs="0"/>
                <xsd:element ref="ns2:_Flow_SignoffStatu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3071f4-7f44-43fd-895c-8e7b6a3746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_Flow_SignoffStatus" ma:index="21" nillable="true" ma:displayName="Sign-off status" ma:internalName="Sign_x002d_off_x0020_status">
      <xsd:simpleType>
        <xsd:restriction base="dms:Text"/>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a407c16c-d400-4155-af4b-d0582c07d42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ad97cfe-a968-427f-b02b-893e6ba0355a"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7b8b45f8-435e-402c-b129-c8853cba6318}" ma:internalName="TaxCatchAll" ma:showField="CatchAllData" ma:web="ead97cfe-a968-427f-b02b-893e6ba0355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39F3FD5-8BE4-4C63-8E08-C5A7A17FEE74}">
  <ds:schemaRefs>
    <ds:schemaRef ds:uri="http://schemas.microsoft.com/sharepoint/v3/contenttype/forms"/>
  </ds:schemaRefs>
</ds:datastoreItem>
</file>

<file path=customXml/itemProps2.xml><?xml version="1.0" encoding="utf-8"?>
<ds:datastoreItem xmlns:ds="http://schemas.openxmlformats.org/officeDocument/2006/customXml" ds:itemID="{B0A84615-6D8B-4A8F-B9A5-3805127A3ACB}">
  <ds:schemaRefs>
    <ds:schemaRef ds:uri="c53071f4-7f44-43fd-895c-8e7b6a3746b0"/>
    <ds:schemaRef ds:uri="ead97cfe-a968-427f-b02b-893e6ba0355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6C070EDE-625B-48A2-97EA-57E655003D7E}">
  <ds:schemaRefs>
    <ds:schemaRef ds:uri="c53071f4-7f44-43fd-895c-8e7b6a3746b0"/>
    <ds:schemaRef ds:uri="ead97cfe-a968-427f-b02b-893e6ba0355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549</TotalTime>
  <Words>2662</Words>
  <Application>Microsoft Office PowerPoint</Application>
  <PresentationFormat>Widescreen</PresentationFormat>
  <Paragraphs>361</Paragraphs>
  <Slides>42</Slides>
  <Notes>5</Notes>
  <HiddenSlides>0</HiddenSlides>
  <MMClips>0</MMClips>
  <ScaleCrop>false</ScaleCrop>
  <HeadingPairs>
    <vt:vector size="8" baseType="variant">
      <vt:variant>
        <vt:lpstr>Fonts Used</vt:lpstr>
      </vt:variant>
      <vt:variant>
        <vt:i4>2</vt:i4>
      </vt:variant>
      <vt:variant>
        <vt:lpstr>Theme</vt:lpstr>
      </vt:variant>
      <vt:variant>
        <vt:i4>4</vt:i4>
      </vt:variant>
      <vt:variant>
        <vt:lpstr>Embedded OLE Servers</vt:lpstr>
      </vt:variant>
      <vt:variant>
        <vt:i4>1</vt:i4>
      </vt:variant>
      <vt:variant>
        <vt:lpstr>Slide Titles</vt:lpstr>
      </vt:variant>
      <vt:variant>
        <vt:i4>42</vt:i4>
      </vt:variant>
    </vt:vector>
  </HeadingPairs>
  <TitlesOfParts>
    <vt:vector size="49" baseType="lpstr">
      <vt:lpstr>Arial</vt:lpstr>
      <vt:lpstr>Calibri</vt:lpstr>
      <vt:lpstr>Office Theme</vt:lpstr>
      <vt:lpstr>Custom Design</vt:lpstr>
      <vt:lpstr>1_Custom Design</vt:lpstr>
      <vt:lpstr>3_Custom Design</vt:lpstr>
      <vt:lpstr>think-cell Slide</vt:lpstr>
      <vt:lpstr>Unhealthy diets</vt:lpstr>
      <vt:lpstr>Starter</vt:lpstr>
      <vt:lpstr>Demo – scales and energy balance</vt:lpstr>
      <vt:lpstr>Positive energy balance </vt:lpstr>
      <vt:lpstr>Negative energy balance </vt:lpstr>
      <vt:lpstr>Energy balance </vt:lpstr>
      <vt:lpstr>Fill in the gaps</vt:lpstr>
      <vt:lpstr>Energy and nutrients</vt:lpstr>
      <vt:lpstr>Undernutrition</vt:lpstr>
      <vt:lpstr>Undernutrition</vt:lpstr>
      <vt:lpstr>Over nutrition</vt:lpstr>
      <vt:lpstr>Over nutrition</vt:lpstr>
      <vt:lpstr>Undernutrition or overnutrition</vt:lpstr>
      <vt:lpstr>Body Mass Index (BMI) </vt:lpstr>
      <vt:lpstr>Calculating BMI – worked example</vt:lpstr>
      <vt:lpstr>BMI calculation</vt:lpstr>
      <vt:lpstr>Healthy food leaflet</vt:lpstr>
      <vt:lpstr>Healthy food leaflet – peer marking</vt:lpstr>
      <vt:lpstr>Homework - Diet diary</vt:lpstr>
      <vt:lpstr>Homework</vt:lpstr>
      <vt:lpstr>Key words</vt:lpstr>
      <vt:lpstr>Teachers’ guide</vt:lpstr>
      <vt:lpstr>Teaching about unhealthy diets:</vt:lpstr>
      <vt:lpstr>Unhealthy diets lesson</vt:lpstr>
      <vt:lpstr>Progressing the learning</vt:lpstr>
      <vt:lpstr>Talking about unhealthy diets</vt:lpstr>
      <vt:lpstr>Extra information for teachers</vt:lpstr>
      <vt:lpstr>Malnutrition</vt:lpstr>
      <vt:lpstr>Malnutrition</vt:lpstr>
      <vt:lpstr>Cancer</vt:lpstr>
      <vt:lpstr>Cancer</vt:lpstr>
      <vt:lpstr>Cancer prevention</vt:lpstr>
      <vt:lpstr>Coronary heart disease</vt:lpstr>
      <vt:lpstr>Coronary heart disease</vt:lpstr>
      <vt:lpstr>CHD</vt:lpstr>
      <vt:lpstr>Coronary heart disease</vt:lpstr>
      <vt:lpstr>BMI</vt:lpstr>
      <vt:lpstr>Obesity</vt:lpstr>
      <vt:lpstr>Bone health</vt:lpstr>
      <vt:lpstr>Bone health</vt:lpstr>
      <vt:lpstr>Anaemia</vt:lpstr>
      <vt:lpstr>Unhealthy die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 social!</dc:title>
  <dc:creator>Glenn Carter</dc:creator>
  <cp:lastModifiedBy>Ewen Trafford</cp:lastModifiedBy>
  <cp:revision>218</cp:revision>
  <dcterms:created xsi:type="dcterms:W3CDTF">2018-10-10T09:22:08Z</dcterms:created>
  <dcterms:modified xsi:type="dcterms:W3CDTF">2022-12-02T10:43: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D5B78CA333243439763E4169A5FEB7F</vt:lpwstr>
  </property>
  <property fmtid="{D5CDD505-2E9C-101B-9397-08002B2CF9AE}" pid="3" name="Order">
    <vt:r8>551200</vt:r8>
  </property>
  <property fmtid="{D5CDD505-2E9C-101B-9397-08002B2CF9AE}" pid="4" name="_ExtendedDescription">
    <vt:lpwstr/>
  </property>
  <property fmtid="{D5CDD505-2E9C-101B-9397-08002B2CF9AE}" pid="5" name="ComplianceAssetId">
    <vt:lpwstr/>
  </property>
  <property fmtid="{D5CDD505-2E9C-101B-9397-08002B2CF9AE}" pid="6" name="TriggerFlowInfo">
    <vt:lpwstr/>
  </property>
  <property fmtid="{D5CDD505-2E9C-101B-9397-08002B2CF9AE}" pid="7" name="MediaServiceImageTags">
    <vt:lpwstr/>
  </property>
</Properties>
</file>